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0.xml" ContentType="application/vnd.openxmlformats-officedocument.presentationml.notesSlide+xml"/>
  <Override PartName="/ppt/tags/tag35.xml" ContentType="application/vnd.openxmlformats-officedocument.presentationml.tags+xml"/>
  <Override PartName="/ppt/notesSlides/notesSlide11.xml" ContentType="application/vnd.openxmlformats-officedocument.presentationml.notesSlide+xml"/>
  <Override PartName="/ppt/tags/tag36.xml" ContentType="application/vnd.openxmlformats-officedocument.presentationml.tags+xml"/>
  <Override PartName="/ppt/notesSlides/notesSlide12.xml" ContentType="application/vnd.openxmlformats-officedocument.presentationml.notesSlide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notesSlides/notesSlide14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7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9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0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4" r:id="rId4"/>
    <p:sldMasterId id="2147483775" r:id="rId5"/>
    <p:sldMasterId id="2147483800" r:id="rId6"/>
    <p:sldMasterId id="2147483811" r:id="rId7"/>
  </p:sldMasterIdLst>
  <p:notesMasterIdLst>
    <p:notesMasterId r:id="rId29"/>
  </p:notesMasterIdLst>
  <p:handoutMasterIdLst>
    <p:handoutMasterId r:id="rId30"/>
  </p:handoutMasterIdLst>
  <p:sldIdLst>
    <p:sldId id="2147471205" r:id="rId8"/>
    <p:sldId id="2147471211" r:id="rId9"/>
    <p:sldId id="2147470791" r:id="rId10"/>
    <p:sldId id="2147470923" r:id="rId11"/>
    <p:sldId id="2147471474" r:id="rId12"/>
    <p:sldId id="2147471475" r:id="rId13"/>
    <p:sldId id="2147471497" r:id="rId14"/>
    <p:sldId id="2147471473" r:id="rId15"/>
    <p:sldId id="2147471282" r:id="rId16"/>
    <p:sldId id="2147471258" r:id="rId17"/>
    <p:sldId id="2147471270" r:id="rId18"/>
    <p:sldId id="2147471266" r:id="rId19"/>
    <p:sldId id="2147471183" r:id="rId20"/>
    <p:sldId id="2147471236" r:id="rId21"/>
    <p:sldId id="2147471288" r:id="rId22"/>
    <p:sldId id="2147471294" r:id="rId23"/>
    <p:sldId id="2147471297" r:id="rId24"/>
    <p:sldId id="2147471298" r:id="rId25"/>
    <p:sldId id="2147471290" r:id="rId26"/>
    <p:sldId id="2147471293" r:id="rId27"/>
    <p:sldId id="2147471300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LL, Codie" initials="BC" lastIdx="31" clrIdx="0">
    <p:extLst>
      <p:ext uri="{19B8F6BF-5375-455C-9EA6-DF929625EA0E}">
        <p15:presenceInfo xmlns:p15="http://schemas.microsoft.com/office/powerpoint/2012/main" userId="S-1-5-21-1463861888-1148693830-2432142812-1494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3BD853-46F9-414A-A681-3E9C3593E1F5}" v="5" dt="2022-12-07T00:05:44.52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53" autoAdjust="0"/>
    <p:restoredTop sz="97515" autoAdjust="0"/>
  </p:normalViewPr>
  <p:slideViewPr>
    <p:cSldViewPr snapToGrid="0">
      <p:cViewPr varScale="1">
        <p:scale>
          <a:sx n="69" d="100"/>
          <a:sy n="69" d="100"/>
        </p:scale>
        <p:origin x="46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54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gs" Target="tags/tag1.xml"/><Relationship Id="rId16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168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chelle Boland" userId="86fda904-73bb-4d24-9ca9-bad9a30c9062" providerId="ADAL" clId="{62845B5A-856C-4BC6-97E0-8357963948AF}"/>
    <pc:docChg chg="undo custSel modSld replTag">
      <pc:chgData name="Rochelle Boland" userId="86fda904-73bb-4d24-9ca9-bad9a30c9062" providerId="ADAL" clId="{62845B5A-856C-4BC6-97E0-8357963948AF}" dt="2022-11-15T03:50:46.663" v="488"/>
      <pc:docMkLst>
        <pc:docMk/>
      </pc:docMkLst>
      <pc:sldChg chg="modSp mod">
        <pc:chgData name="Rochelle Boland" userId="86fda904-73bb-4d24-9ca9-bad9a30c9062" providerId="ADAL" clId="{62845B5A-856C-4BC6-97E0-8357963948AF}" dt="2022-11-15T03:42:19.297" v="333" actId="5793"/>
        <pc:sldMkLst>
          <pc:docMk/>
          <pc:sldMk cId="3659435580" sldId="2147378380"/>
        </pc:sldMkLst>
        <pc:spChg chg="mod">
          <ac:chgData name="Rochelle Boland" userId="86fda904-73bb-4d24-9ca9-bad9a30c9062" providerId="ADAL" clId="{62845B5A-856C-4BC6-97E0-8357963948AF}" dt="2022-11-15T03:42:19.297" v="333" actId="5793"/>
          <ac:spMkLst>
            <pc:docMk/>
            <pc:sldMk cId="3659435580" sldId="2147378380"/>
            <ac:spMk id="15" creationId="{01916271-19FE-0A75-D8A4-1E58809B842A}"/>
          </ac:spMkLst>
        </pc:spChg>
      </pc:sldChg>
      <pc:sldChg chg="modSp mod delCm">
        <pc:chgData name="Rochelle Boland" userId="86fda904-73bb-4d24-9ca9-bad9a30c9062" providerId="ADAL" clId="{62845B5A-856C-4BC6-97E0-8357963948AF}" dt="2022-11-15T03:47:10.992" v="440" actId="20577"/>
        <pc:sldMkLst>
          <pc:docMk/>
          <pc:sldMk cId="2625584179" sldId="2147470747"/>
        </pc:sldMkLst>
        <pc:graphicFrameChg chg="modGraphic">
          <ac:chgData name="Rochelle Boland" userId="86fda904-73bb-4d24-9ca9-bad9a30c9062" providerId="ADAL" clId="{62845B5A-856C-4BC6-97E0-8357963948AF}" dt="2022-11-15T03:47:10.992" v="440" actId="20577"/>
          <ac:graphicFrameMkLst>
            <pc:docMk/>
            <pc:sldMk cId="2625584179" sldId="2147470747"/>
            <ac:graphicFrameMk id="8" creationId="{C212C4E6-5EC1-92F6-E94E-C34F8049E335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24:05.597" v="158" actId="1592"/>
        <pc:sldMkLst>
          <pc:docMk/>
          <pc:sldMk cId="2525408289" sldId="2147470749"/>
        </pc:sldMkLst>
        <pc:graphicFrameChg chg="modGraphic">
          <ac:chgData name="Rochelle Boland" userId="86fda904-73bb-4d24-9ca9-bad9a30c9062" providerId="ADAL" clId="{62845B5A-856C-4BC6-97E0-8357963948AF}" dt="2022-11-15T03:23:47.469" v="157" actId="207"/>
          <ac:graphicFrameMkLst>
            <pc:docMk/>
            <pc:sldMk cId="2525408289" sldId="2147470749"/>
            <ac:graphicFrameMk id="4" creationId="{3575BDD3-D555-F2DD-02C0-68055EF6765C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30:09.260" v="248" actId="1592"/>
        <pc:sldMkLst>
          <pc:docMk/>
          <pc:sldMk cId="2142272456" sldId="2147470777"/>
        </pc:sldMkLst>
        <pc:spChg chg="mod">
          <ac:chgData name="Rochelle Boland" userId="86fda904-73bb-4d24-9ca9-bad9a30c9062" providerId="ADAL" clId="{62845B5A-856C-4BC6-97E0-8357963948AF}" dt="2022-11-15T03:30:04.342" v="246" actId="207"/>
          <ac:spMkLst>
            <pc:docMk/>
            <pc:sldMk cId="2142272456" sldId="2147470777"/>
            <ac:spMk id="61" creationId="{FE9F004A-0C6C-47D0-A7BE-70209551EF4D}"/>
          </ac:spMkLst>
        </pc:spChg>
        <pc:spChg chg="mod">
          <ac:chgData name="Rochelle Boland" userId="86fda904-73bb-4d24-9ca9-bad9a30c9062" providerId="ADAL" clId="{62845B5A-856C-4BC6-97E0-8357963948AF}" dt="2022-11-15T03:30:07.590" v="247" actId="207"/>
          <ac:spMkLst>
            <pc:docMk/>
            <pc:sldMk cId="2142272456" sldId="2147470777"/>
            <ac:spMk id="64" creationId="{4A1B588D-DBAE-44AE-BE6A-583F917258CF}"/>
          </ac:spMkLst>
        </pc:spChg>
      </pc:sldChg>
      <pc:sldChg chg="modSp mod delCm">
        <pc:chgData name="Rochelle Boland" userId="86fda904-73bb-4d24-9ca9-bad9a30c9062" providerId="ADAL" clId="{62845B5A-856C-4BC6-97E0-8357963948AF}" dt="2022-11-15T03:30:34.810" v="251" actId="1592"/>
        <pc:sldMkLst>
          <pc:docMk/>
          <pc:sldMk cId="2364648475" sldId="2147470778"/>
        </pc:sldMkLst>
        <pc:spChg chg="mod">
          <ac:chgData name="Rochelle Boland" userId="86fda904-73bb-4d24-9ca9-bad9a30c9062" providerId="ADAL" clId="{62845B5A-856C-4BC6-97E0-8357963948AF}" dt="2022-11-15T03:30:31.730" v="250" actId="207"/>
          <ac:spMkLst>
            <pc:docMk/>
            <pc:sldMk cId="2364648475" sldId="2147470778"/>
            <ac:spMk id="54" creationId="{EA00EF7F-2C9A-42C3-9408-675E1AE53BAD}"/>
          </ac:spMkLst>
        </pc:spChg>
      </pc:sldChg>
      <pc:sldChg chg="modSp mod delCm">
        <pc:chgData name="Rochelle Boland" userId="86fda904-73bb-4d24-9ca9-bad9a30c9062" providerId="ADAL" clId="{62845B5A-856C-4BC6-97E0-8357963948AF}" dt="2022-11-15T03:29:54.835" v="245" actId="1592"/>
        <pc:sldMkLst>
          <pc:docMk/>
          <pc:sldMk cId="2688572831" sldId="2147470790"/>
        </pc:sldMkLst>
        <pc:spChg chg="mod">
          <ac:chgData name="Rochelle Boland" userId="86fda904-73bb-4d24-9ca9-bad9a30c9062" providerId="ADAL" clId="{62845B5A-856C-4BC6-97E0-8357963948AF}" dt="2022-11-15T03:29:50.731" v="244" actId="6549"/>
          <ac:spMkLst>
            <pc:docMk/>
            <pc:sldMk cId="2688572831" sldId="2147470790"/>
            <ac:spMk id="7" creationId="{C9CFC0C0-F053-BD54-9158-0948B247E517}"/>
          </ac:spMkLst>
        </pc:spChg>
        <pc:spChg chg="mod">
          <ac:chgData name="Rochelle Boland" userId="86fda904-73bb-4d24-9ca9-bad9a30c9062" providerId="ADAL" clId="{62845B5A-856C-4BC6-97E0-8357963948AF}" dt="2022-11-15T03:29:34.935" v="231" actId="207"/>
          <ac:spMkLst>
            <pc:docMk/>
            <pc:sldMk cId="2688572831" sldId="2147470790"/>
            <ac:spMk id="9" creationId="{9C7349A8-5106-7F58-A538-8412D01C33C9}"/>
          </ac:spMkLst>
        </pc:spChg>
      </pc:sldChg>
      <pc:sldChg chg="addSp delSp modSp mod">
        <pc:chgData name="Rochelle Boland" userId="86fda904-73bb-4d24-9ca9-bad9a30c9062" providerId="ADAL" clId="{62845B5A-856C-4BC6-97E0-8357963948AF}" dt="2022-11-15T03:50:46.663" v="488"/>
        <pc:sldMkLst>
          <pc:docMk/>
          <pc:sldMk cId="1109256714" sldId="2147470845"/>
        </pc:sldMkLst>
        <pc:spChg chg="mod">
          <ac:chgData name="Rochelle Boland" userId="86fda904-73bb-4d24-9ca9-bad9a30c9062" providerId="ADAL" clId="{62845B5A-856C-4BC6-97E0-8357963948AF}" dt="2022-11-15T03:50:46.611" v="445" actId="948"/>
          <ac:spMkLst>
            <pc:docMk/>
            <pc:sldMk cId="1109256714" sldId="2147470845"/>
            <ac:spMk id="2" creationId="{69A67A51-6E6F-41F4-A136-EE02B142A156}"/>
          </ac:spMkLst>
        </pc:spChg>
        <pc:spChg chg="add del mod modVis">
          <ac:chgData name="Rochelle Boland" userId="86fda904-73bb-4d24-9ca9-bad9a30c9062" providerId="ADAL" clId="{62845B5A-856C-4BC6-97E0-8357963948AF}" dt="2022-11-15T03:50:46.660" v="486"/>
          <ac:spMkLst>
            <pc:docMk/>
            <pc:sldMk cId="1109256714" sldId="2147470845"/>
            <ac:spMk id="6" creationId="{1240A1A3-0B88-80DF-42BA-EA07863F542E}"/>
          </ac:spMkLst>
        </pc:spChg>
        <pc:graphicFrameChg chg="mod">
          <ac:chgData name="Rochelle Boland" userId="86fda904-73bb-4d24-9ca9-bad9a30c9062" providerId="ADAL" clId="{62845B5A-856C-4BC6-97E0-8357963948AF}" dt="2022-11-15T03:50:46.663" v="488"/>
          <ac:graphicFrameMkLst>
            <pc:docMk/>
            <pc:sldMk cId="1109256714" sldId="2147470845"/>
            <ac:graphicFrameMk id="7" creationId="{5B859630-2902-4219-90A8-9838020321D5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21:38.777" v="156" actId="1592"/>
        <pc:sldMkLst>
          <pc:docMk/>
          <pc:sldMk cId="848403821" sldId="2147470862"/>
        </pc:sldMkLst>
        <pc:graphicFrameChg chg="modGraphic">
          <ac:chgData name="Rochelle Boland" userId="86fda904-73bb-4d24-9ca9-bad9a30c9062" providerId="ADAL" clId="{62845B5A-856C-4BC6-97E0-8357963948AF}" dt="2022-11-15T03:21:35.995" v="155" actId="207"/>
          <ac:graphicFrameMkLst>
            <pc:docMk/>
            <pc:sldMk cId="848403821" sldId="2147470862"/>
            <ac:graphicFrameMk id="9" creationId="{A17F2107-73C9-42B3-82D9-23848C6820AD}"/>
          </ac:graphicFrameMkLst>
        </pc:graphicFrameChg>
      </pc:sldChg>
      <pc:sldChg chg="delSp modSp mod delCm">
        <pc:chgData name="Rochelle Boland" userId="86fda904-73bb-4d24-9ca9-bad9a30c9062" providerId="ADAL" clId="{62845B5A-856C-4BC6-97E0-8357963948AF}" dt="2022-11-15T03:28:59.261" v="223" actId="1592"/>
        <pc:sldMkLst>
          <pc:docMk/>
          <pc:sldMk cId="1953847966" sldId="2147470910"/>
        </pc:sldMkLst>
        <pc:spChg chg="mod">
          <ac:chgData name="Rochelle Boland" userId="86fda904-73bb-4d24-9ca9-bad9a30c9062" providerId="ADAL" clId="{62845B5A-856C-4BC6-97E0-8357963948AF}" dt="2022-11-15T03:28:48.601" v="221" actId="1038"/>
          <ac:spMkLst>
            <pc:docMk/>
            <pc:sldMk cId="1953847966" sldId="2147470910"/>
            <ac:spMk id="7" creationId="{61255E37-7D08-1AD0-A006-8AA8EFC29CC1}"/>
          </ac:spMkLst>
        </pc:spChg>
        <pc:spChg chg="del">
          <ac:chgData name="Rochelle Boland" userId="86fda904-73bb-4d24-9ca9-bad9a30c9062" providerId="ADAL" clId="{62845B5A-856C-4BC6-97E0-8357963948AF}" dt="2022-11-15T03:28:42.719" v="185" actId="478"/>
          <ac:spMkLst>
            <pc:docMk/>
            <pc:sldMk cId="1953847966" sldId="2147470910"/>
            <ac:spMk id="33" creationId="{61255E37-7D08-1AD0-A006-8AA8EFC29CC1}"/>
          </ac:spMkLst>
        </pc:spChg>
        <pc:spChg chg="mod">
          <ac:chgData name="Rochelle Boland" userId="86fda904-73bb-4d24-9ca9-bad9a30c9062" providerId="ADAL" clId="{62845B5A-856C-4BC6-97E0-8357963948AF}" dt="2022-11-15T03:28:56.483" v="222" actId="207"/>
          <ac:spMkLst>
            <pc:docMk/>
            <pc:sldMk cId="1953847966" sldId="2147470910"/>
            <ac:spMk id="54" creationId="{58331172-73D1-48A7-BE3F-3B01FC4CBE1D}"/>
          </ac:spMkLst>
        </pc:spChg>
      </pc:sldChg>
      <pc:sldChg chg="modSp mod">
        <pc:chgData name="Rochelle Boland" userId="86fda904-73bb-4d24-9ca9-bad9a30c9062" providerId="ADAL" clId="{62845B5A-856C-4BC6-97E0-8357963948AF}" dt="2022-11-15T03:46:30.144" v="436" actId="20577"/>
        <pc:sldMkLst>
          <pc:docMk/>
          <pc:sldMk cId="1630009601" sldId="2147470923"/>
        </pc:sldMkLst>
        <pc:graphicFrameChg chg="modGraphic">
          <ac:chgData name="Rochelle Boland" userId="86fda904-73bb-4d24-9ca9-bad9a30c9062" providerId="ADAL" clId="{62845B5A-856C-4BC6-97E0-8357963948AF}" dt="2022-11-15T03:46:30.144" v="436" actId="20577"/>
          <ac:graphicFrameMkLst>
            <pc:docMk/>
            <pc:sldMk cId="1630009601" sldId="2147470923"/>
            <ac:graphicFrameMk id="52" creationId="{A4946320-867A-303D-6AED-C3623910C416}"/>
          </ac:graphicFrameMkLst>
        </pc:graphicFrameChg>
      </pc:sldChg>
      <pc:sldChg chg="modSp mod">
        <pc:chgData name="Rochelle Boland" userId="86fda904-73bb-4d24-9ca9-bad9a30c9062" providerId="ADAL" clId="{62845B5A-856C-4BC6-97E0-8357963948AF}" dt="2022-11-15T03:46:01.099" v="435" actId="113"/>
        <pc:sldMkLst>
          <pc:docMk/>
          <pc:sldMk cId="751760862" sldId="2147471142"/>
        </pc:sldMkLst>
        <pc:spChg chg="mod">
          <ac:chgData name="Rochelle Boland" userId="86fda904-73bb-4d24-9ca9-bad9a30c9062" providerId="ADAL" clId="{62845B5A-856C-4BC6-97E0-8357963948AF}" dt="2022-11-15T03:46:01.099" v="435" actId="113"/>
          <ac:spMkLst>
            <pc:docMk/>
            <pc:sldMk cId="751760862" sldId="2147471142"/>
            <ac:spMk id="2" creationId="{B04D0DEB-93A1-4FC4-F60F-1D1DD1DE9AEE}"/>
          </ac:spMkLst>
        </pc:spChg>
        <pc:spChg chg="mod">
          <ac:chgData name="Rochelle Boland" userId="86fda904-73bb-4d24-9ca9-bad9a30c9062" providerId="ADAL" clId="{62845B5A-856C-4BC6-97E0-8357963948AF}" dt="2022-11-15T03:45:56.632" v="433" actId="20577"/>
          <ac:spMkLst>
            <pc:docMk/>
            <pc:sldMk cId="751760862" sldId="2147471142"/>
            <ac:spMk id="8" creationId="{B9CC5D02-BABE-174C-FFAD-9592692B47CF}"/>
          </ac:spMkLst>
        </pc:spChg>
      </pc:sldChg>
      <pc:sldChg chg="addSp delSp modSp mod modClrScheme chgLayout">
        <pc:chgData name="Rochelle Boland" userId="86fda904-73bb-4d24-9ca9-bad9a30c9062" providerId="ADAL" clId="{62845B5A-856C-4BC6-97E0-8357963948AF}" dt="2022-11-15T03:44:48.337" v="380"/>
        <pc:sldMkLst>
          <pc:docMk/>
          <pc:sldMk cId="3637092048" sldId="2147471205"/>
        </pc:sldMkLst>
        <pc:spChg chg="add del mod modVis">
          <ac:chgData name="Rochelle Boland" userId="86fda904-73bb-4d24-9ca9-bad9a30c9062" providerId="ADAL" clId="{62845B5A-856C-4BC6-97E0-8357963948AF}" dt="2022-11-15T03:44:48.329" v="378"/>
          <ac:spMkLst>
            <pc:docMk/>
            <pc:sldMk cId="3637092048" sldId="2147471205"/>
            <ac:spMk id="2" creationId="{F89A7B2D-8C15-8DD9-CB2E-5DFE456D8F0E}"/>
          </ac:spMkLst>
        </pc:spChg>
        <pc:spChg chg="mod ord">
          <ac:chgData name="Rochelle Boland" userId="86fda904-73bb-4d24-9ca9-bad9a30c9062" providerId="ADAL" clId="{62845B5A-856C-4BC6-97E0-8357963948AF}" dt="2022-11-15T03:44:48.237" v="337" actId="948"/>
          <ac:spMkLst>
            <pc:docMk/>
            <pc:sldMk cId="3637092048" sldId="2147471205"/>
            <ac:spMk id="5" creationId="{A4AA5DE5-C37C-50CA-D356-FF3C3D9D1C1F}"/>
          </ac:spMkLst>
        </pc:spChg>
        <pc:spChg chg="mod ord">
          <ac:chgData name="Rochelle Boland" userId="86fda904-73bb-4d24-9ca9-bad9a30c9062" providerId="ADAL" clId="{62845B5A-856C-4BC6-97E0-8357963948AF}" dt="2022-11-15T03:44:47.683" v="336" actId="27636"/>
          <ac:spMkLst>
            <pc:docMk/>
            <pc:sldMk cId="3637092048" sldId="2147471205"/>
            <ac:spMk id="6" creationId="{80276683-CC08-F663-E57E-5B052A08D11A}"/>
          </ac:spMkLst>
        </pc:spChg>
        <pc:spChg chg="mod ord">
          <ac:chgData name="Rochelle Boland" userId="86fda904-73bb-4d24-9ca9-bad9a30c9062" providerId="ADAL" clId="{62845B5A-856C-4BC6-97E0-8357963948AF}" dt="2022-11-15T03:44:47.645" v="335"/>
          <ac:spMkLst>
            <pc:docMk/>
            <pc:sldMk cId="3637092048" sldId="2147471205"/>
            <ac:spMk id="7" creationId="{F14C6062-C605-7B56-8F15-EE496E14BECF}"/>
          </ac:spMkLst>
        </pc:spChg>
        <pc:graphicFrameChg chg="mod">
          <ac:chgData name="Rochelle Boland" userId="86fda904-73bb-4d24-9ca9-bad9a30c9062" providerId="ADAL" clId="{62845B5A-856C-4BC6-97E0-8357963948AF}" dt="2022-11-15T03:44:48.337" v="380"/>
          <ac:graphicFrameMkLst>
            <pc:docMk/>
            <pc:sldMk cId="3637092048" sldId="2147471205"/>
            <ac:graphicFrameMk id="9" creationId="{BBCBBA1D-EFB8-62AA-966A-1C5B6E3DE3E0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45:32.803" v="431" actId="20577"/>
        <pc:sldMkLst>
          <pc:docMk/>
          <pc:sldMk cId="764375486" sldId="2147471211"/>
        </pc:sldMkLst>
        <pc:spChg chg="mod">
          <ac:chgData name="Rochelle Boland" userId="86fda904-73bb-4d24-9ca9-bad9a30c9062" providerId="ADAL" clId="{62845B5A-856C-4BC6-97E0-8357963948AF}" dt="2022-11-15T03:45:32.803" v="431" actId="20577"/>
          <ac:spMkLst>
            <pc:docMk/>
            <pc:sldMk cId="764375486" sldId="2147471211"/>
            <ac:spMk id="5" creationId="{3027D3A3-D383-561F-E0CD-309B27E642A3}"/>
          </ac:spMkLst>
        </pc:spChg>
      </pc:sldChg>
      <pc:sldChg chg="modSp mod">
        <pc:chgData name="Rochelle Boland" userId="86fda904-73bb-4d24-9ca9-bad9a30c9062" providerId="ADAL" clId="{62845B5A-856C-4BC6-97E0-8357963948AF}" dt="2022-11-15T03:48:08.606" v="441" actId="20577"/>
        <pc:sldMkLst>
          <pc:docMk/>
          <pc:sldMk cId="75640060" sldId="2147471236"/>
        </pc:sldMkLst>
        <pc:spChg chg="mod">
          <ac:chgData name="Rochelle Boland" userId="86fda904-73bb-4d24-9ca9-bad9a30c9062" providerId="ADAL" clId="{62845B5A-856C-4BC6-97E0-8357963948AF}" dt="2022-11-15T03:48:08.606" v="441" actId="20577"/>
          <ac:spMkLst>
            <pc:docMk/>
            <pc:sldMk cId="75640060" sldId="2147471236"/>
            <ac:spMk id="54" creationId="{70B15D3C-D985-29CD-2151-F5C8AA9E296E}"/>
          </ac:spMkLst>
        </pc:spChg>
      </pc:sldChg>
      <pc:sldChg chg="modSp mod delCm">
        <pc:chgData name="Rochelle Boland" userId="86fda904-73bb-4d24-9ca9-bad9a30c9062" providerId="ADAL" clId="{62845B5A-856C-4BC6-97E0-8357963948AF}" dt="2022-11-15T03:21:16.758" v="154" actId="1592"/>
        <pc:sldMkLst>
          <pc:docMk/>
          <pc:sldMk cId="3495306204" sldId="2147471245"/>
        </pc:sldMkLst>
        <pc:graphicFrameChg chg="modGraphic">
          <ac:chgData name="Rochelle Boland" userId="86fda904-73bb-4d24-9ca9-bad9a30c9062" providerId="ADAL" clId="{62845B5A-856C-4BC6-97E0-8357963948AF}" dt="2022-11-15T03:21:12.500" v="153" actId="207"/>
          <ac:graphicFrameMkLst>
            <pc:docMk/>
            <pc:sldMk cId="3495306204" sldId="2147471245"/>
            <ac:graphicFrameMk id="15" creationId="{328D788C-B336-4DBE-895C-3F3F1D951836}"/>
          </ac:graphicFrameMkLst>
        </pc:graphicFrameChg>
        <pc:graphicFrameChg chg="modGraphic">
          <ac:chgData name="Rochelle Boland" userId="86fda904-73bb-4d24-9ca9-bad9a30c9062" providerId="ADAL" clId="{62845B5A-856C-4BC6-97E0-8357963948AF}" dt="2022-11-15T03:20:59.410" v="149" actId="207"/>
          <ac:graphicFrameMkLst>
            <pc:docMk/>
            <pc:sldMk cId="3495306204" sldId="2147471245"/>
            <ac:graphicFrameMk id="53" creationId="{1340F324-AA7B-43C4-9828-DB3E69040BF9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28:28.910" v="184" actId="1592"/>
        <pc:sldMkLst>
          <pc:docMk/>
          <pc:sldMk cId="2334799513" sldId="2147471261"/>
        </pc:sldMkLst>
        <pc:spChg chg="mod">
          <ac:chgData name="Rochelle Boland" userId="86fda904-73bb-4d24-9ca9-bad9a30c9062" providerId="ADAL" clId="{62845B5A-856C-4BC6-97E0-8357963948AF}" dt="2022-11-15T03:28:22.601" v="183" actId="207"/>
          <ac:spMkLst>
            <pc:docMk/>
            <pc:sldMk cId="2334799513" sldId="2147471261"/>
            <ac:spMk id="20" creationId="{AE176FB8-D477-5EBB-E178-9B53B81CB596}"/>
          </ac:spMkLst>
        </pc:spChg>
      </pc:sldChg>
      <pc:sldChg chg="modSp mod">
        <pc:chgData name="Rochelle Boland" userId="86fda904-73bb-4d24-9ca9-bad9a30c9062" providerId="ADAL" clId="{62845B5A-856C-4BC6-97E0-8357963948AF}" dt="2022-11-15T03:48:14.577" v="443" actId="20577"/>
        <pc:sldMkLst>
          <pc:docMk/>
          <pc:sldMk cId="3993994809" sldId="2147471266"/>
        </pc:sldMkLst>
        <pc:spChg chg="mod">
          <ac:chgData name="Rochelle Boland" userId="86fda904-73bb-4d24-9ca9-bad9a30c9062" providerId="ADAL" clId="{62845B5A-856C-4BC6-97E0-8357963948AF}" dt="2022-11-15T03:48:14.577" v="443" actId="20577"/>
          <ac:spMkLst>
            <pc:docMk/>
            <pc:sldMk cId="3993994809" sldId="2147471266"/>
            <ac:spMk id="17" creationId="{DECC8884-CF2C-1E1D-C5A0-5C9FB68D96B9}"/>
          </ac:spMkLst>
        </pc:spChg>
      </pc:sldChg>
      <pc:sldChg chg="modSp mod delCm">
        <pc:chgData name="Rochelle Boland" userId="86fda904-73bb-4d24-9ca9-bad9a30c9062" providerId="ADAL" clId="{62845B5A-856C-4BC6-97E0-8357963948AF}" dt="2022-11-15T03:29:26.071" v="230" actId="1592"/>
        <pc:sldMkLst>
          <pc:docMk/>
          <pc:sldMk cId="447145103" sldId="2147471272"/>
        </pc:sldMkLst>
        <pc:spChg chg="mod">
          <ac:chgData name="Rochelle Boland" userId="86fda904-73bb-4d24-9ca9-bad9a30c9062" providerId="ADAL" clId="{62845B5A-856C-4BC6-97E0-8357963948AF}" dt="2022-11-15T03:29:23.949" v="229" actId="207"/>
          <ac:spMkLst>
            <pc:docMk/>
            <pc:sldMk cId="447145103" sldId="2147471272"/>
            <ac:spMk id="83" creationId="{875EA47E-BE93-46BF-A832-21BBB151F904}"/>
          </ac:spMkLst>
        </pc:spChg>
      </pc:sldChg>
      <pc:sldChg chg="modSp mod delCm">
        <pc:chgData name="Rochelle Boland" userId="86fda904-73bb-4d24-9ca9-bad9a30c9062" providerId="ADAL" clId="{62845B5A-856C-4BC6-97E0-8357963948AF}" dt="2022-11-15T03:27:20.375" v="181" actId="1592"/>
        <pc:sldMkLst>
          <pc:docMk/>
          <pc:sldMk cId="959594188" sldId="2147471282"/>
        </pc:sldMkLst>
        <pc:spChg chg="mod">
          <ac:chgData name="Rochelle Boland" userId="86fda904-73bb-4d24-9ca9-bad9a30c9062" providerId="ADAL" clId="{62845B5A-856C-4BC6-97E0-8357963948AF}" dt="2022-11-15T03:26:58.014" v="173" actId="207"/>
          <ac:spMkLst>
            <pc:docMk/>
            <pc:sldMk cId="959594188" sldId="2147471282"/>
            <ac:spMk id="25" creationId="{98A61E98-58DA-93CE-B9BE-2C085B5EFFF6}"/>
          </ac:spMkLst>
        </pc:spChg>
        <pc:spChg chg="mod">
          <ac:chgData name="Rochelle Boland" userId="86fda904-73bb-4d24-9ca9-bad9a30c9062" providerId="ADAL" clId="{62845B5A-856C-4BC6-97E0-8357963948AF}" dt="2022-11-15T03:27:17.296" v="180" actId="400"/>
          <ac:spMkLst>
            <pc:docMk/>
            <pc:sldMk cId="959594188" sldId="2147471282"/>
            <ac:spMk id="27" creationId="{F67BFC23-5D5C-3E08-43CB-274571CEA666}"/>
          </ac:spMkLst>
        </pc:spChg>
        <pc:spChg chg="mod">
          <ac:chgData name="Rochelle Boland" userId="86fda904-73bb-4d24-9ca9-bad9a30c9062" providerId="ADAL" clId="{62845B5A-856C-4BC6-97E0-8357963948AF}" dt="2022-11-15T03:27:03.888" v="175" actId="207"/>
          <ac:spMkLst>
            <pc:docMk/>
            <pc:sldMk cId="959594188" sldId="2147471282"/>
            <ac:spMk id="31" creationId="{0F81C7AE-D8FF-3ACB-2E98-EAB5D20185C2}"/>
          </ac:spMkLst>
        </pc:spChg>
      </pc:sldChg>
      <pc:sldChg chg="modSp mod">
        <pc:chgData name="Rochelle Boland" userId="86fda904-73bb-4d24-9ca9-bad9a30c9062" providerId="ADAL" clId="{62845B5A-856C-4BC6-97E0-8357963948AF}" dt="2022-11-15T03:26:32.001" v="171" actId="207"/>
        <pc:sldMkLst>
          <pc:docMk/>
          <pc:sldMk cId="2713228230" sldId="2147471291"/>
        </pc:sldMkLst>
        <pc:graphicFrameChg chg="modGraphic">
          <ac:chgData name="Rochelle Boland" userId="86fda904-73bb-4d24-9ca9-bad9a30c9062" providerId="ADAL" clId="{62845B5A-856C-4BC6-97E0-8357963948AF}" dt="2022-11-15T03:26:32.001" v="171" actId="207"/>
          <ac:graphicFrameMkLst>
            <pc:docMk/>
            <pc:sldMk cId="2713228230" sldId="2147471291"/>
            <ac:graphicFrameMk id="5" creationId="{3A67709A-70C1-AF60-FE6A-9DAD44B8DDAD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37:51.259" v="261" actId="1592"/>
        <pc:sldMkLst>
          <pc:docMk/>
          <pc:sldMk cId="22986402" sldId="2147471297"/>
        </pc:sldMkLst>
        <pc:spChg chg="mod">
          <ac:chgData name="Rochelle Boland" userId="86fda904-73bb-4d24-9ca9-bad9a30c9062" providerId="ADAL" clId="{62845B5A-856C-4BC6-97E0-8357963948AF}" dt="2022-11-15T03:37:33.681" v="259" actId="207"/>
          <ac:spMkLst>
            <pc:docMk/>
            <pc:sldMk cId="22986402" sldId="2147471297"/>
            <ac:spMk id="70" creationId="{DABC1CF3-528E-4771-BEF1-6B07AE476073}"/>
          </ac:spMkLst>
        </pc:spChg>
        <pc:spChg chg="mod">
          <ac:chgData name="Rochelle Boland" userId="86fda904-73bb-4d24-9ca9-bad9a30c9062" providerId="ADAL" clId="{62845B5A-856C-4BC6-97E0-8357963948AF}" dt="2022-11-15T03:37:37.232" v="260" actId="207"/>
          <ac:spMkLst>
            <pc:docMk/>
            <pc:sldMk cId="22986402" sldId="2147471297"/>
            <ac:spMk id="80" creationId="{B4198084-010D-43B5-90F8-2A23352817B2}"/>
          </ac:spMkLst>
        </pc:spChg>
      </pc:sldChg>
      <pc:sldChg chg="modSp mod delCm">
        <pc:chgData name="Rochelle Boland" userId="86fda904-73bb-4d24-9ca9-bad9a30c9062" providerId="ADAL" clId="{62845B5A-856C-4BC6-97E0-8357963948AF}" dt="2022-11-15T03:36:58.586" v="253" actId="1592"/>
        <pc:sldMkLst>
          <pc:docMk/>
          <pc:sldMk cId="3029628369" sldId="2147471316"/>
        </pc:sldMkLst>
        <pc:graphicFrameChg chg="modGraphic">
          <ac:chgData name="Rochelle Boland" userId="86fda904-73bb-4d24-9ca9-bad9a30c9062" providerId="ADAL" clId="{62845B5A-856C-4BC6-97E0-8357963948AF}" dt="2022-11-15T03:36:56.056" v="252" actId="6549"/>
          <ac:graphicFrameMkLst>
            <pc:docMk/>
            <pc:sldMk cId="3029628369" sldId="2147471316"/>
            <ac:graphicFrameMk id="5" creationId="{54ACC98F-FCBB-48CE-8F70-8D13F7E22E42}"/>
          </ac:graphicFrameMkLst>
        </pc:graphicFrameChg>
      </pc:sldChg>
      <pc:sldChg chg="modSp mod delCm">
        <pc:chgData name="Rochelle Boland" userId="86fda904-73bb-4d24-9ca9-bad9a30c9062" providerId="ADAL" clId="{62845B5A-856C-4BC6-97E0-8357963948AF}" dt="2022-11-15T03:37:26.028" v="258" actId="1592"/>
        <pc:sldMkLst>
          <pc:docMk/>
          <pc:sldMk cId="4294755502" sldId="2147471317"/>
        </pc:sldMkLst>
        <pc:graphicFrameChg chg="modGraphic">
          <ac:chgData name="Rochelle Boland" userId="86fda904-73bb-4d24-9ca9-bad9a30c9062" providerId="ADAL" clId="{62845B5A-856C-4BC6-97E0-8357963948AF}" dt="2022-11-15T03:37:22.799" v="257" actId="207"/>
          <ac:graphicFrameMkLst>
            <pc:docMk/>
            <pc:sldMk cId="4294755502" sldId="2147471317"/>
            <ac:graphicFrameMk id="15" creationId="{27123004-CF39-41FA-DA74-9B36E0A1952D}"/>
          </ac:graphicFrameMkLst>
        </pc:graphicFrameChg>
      </pc:sldChg>
    </pc:docChg>
  </pc:docChgLst>
  <pc:docChgLst>
    <pc:chgData name="Rochelle Boland" userId="86fda904-73bb-4d24-9ca9-bad9a30c9062" providerId="ADAL" clId="{233BD853-46F9-414A-A681-3E9C3593E1F5}"/>
    <pc:docChg chg="addSld delSld modSld">
      <pc:chgData name="Rochelle Boland" userId="86fda904-73bb-4d24-9ca9-bad9a30c9062" providerId="ADAL" clId="{233BD853-46F9-414A-A681-3E9C3593E1F5}" dt="2022-12-07T00:05:44.523" v="24"/>
      <pc:docMkLst>
        <pc:docMk/>
      </pc:docMkLst>
      <pc:sldChg chg="modSp mod">
        <pc:chgData name="Rochelle Boland" userId="86fda904-73bb-4d24-9ca9-bad9a30c9062" providerId="ADAL" clId="{233BD853-46F9-414A-A681-3E9C3593E1F5}" dt="2022-12-07T00:01:30.666" v="7" actId="20577"/>
        <pc:sldMkLst>
          <pc:docMk/>
          <pc:sldMk cId="3637092048" sldId="2147471205"/>
        </pc:sldMkLst>
        <pc:spChg chg="mod">
          <ac:chgData name="Rochelle Boland" userId="86fda904-73bb-4d24-9ca9-bad9a30c9062" providerId="ADAL" clId="{233BD853-46F9-414A-A681-3E9C3593E1F5}" dt="2022-12-07T00:01:30.666" v="7" actId="20577"/>
          <ac:spMkLst>
            <pc:docMk/>
            <pc:sldMk cId="3637092048" sldId="2147471205"/>
            <ac:spMk id="7" creationId="{F14C6062-C605-7B56-8F15-EE496E14BECF}"/>
          </ac:spMkLst>
        </pc:spChg>
      </pc:sldChg>
      <pc:sldChg chg="add del">
        <pc:chgData name="Rochelle Boland" userId="86fda904-73bb-4d24-9ca9-bad9a30c9062" providerId="ADAL" clId="{233BD853-46F9-414A-A681-3E9C3593E1F5}" dt="2022-12-07T00:05:44.523" v="24"/>
        <pc:sldMkLst>
          <pc:docMk/>
          <pc:sldMk cId="2028211501" sldId="2147471456"/>
        </pc:sldMkLst>
      </pc:sldChg>
      <pc:sldChg chg="add del">
        <pc:chgData name="Rochelle Boland" userId="86fda904-73bb-4d24-9ca9-bad9a30c9062" providerId="ADAL" clId="{233BD853-46F9-414A-A681-3E9C3593E1F5}" dt="2022-12-07T00:04:45.591" v="20"/>
        <pc:sldMkLst>
          <pc:docMk/>
          <pc:sldMk cId="2352482992" sldId="2147471458"/>
        </pc:sldMkLst>
      </pc:sldChg>
      <pc:sldChg chg="del">
        <pc:chgData name="Rochelle Boland" userId="86fda904-73bb-4d24-9ca9-bad9a30c9062" providerId="ADAL" clId="{233BD853-46F9-414A-A681-3E9C3593E1F5}" dt="2022-12-07T00:05:32.567" v="22" actId="47"/>
        <pc:sldMkLst>
          <pc:docMk/>
          <pc:sldMk cId="3581134556" sldId="2147471461"/>
        </pc:sldMkLst>
      </pc:sldChg>
      <pc:sldChg chg="del">
        <pc:chgData name="Rochelle Boland" userId="86fda904-73bb-4d24-9ca9-bad9a30c9062" providerId="ADAL" clId="{233BD853-46F9-414A-A681-3E9C3593E1F5}" dt="2022-12-07T00:02:57.135" v="9" actId="47"/>
        <pc:sldMkLst>
          <pc:docMk/>
          <pc:sldMk cId="2570674444" sldId="2147471472"/>
        </pc:sldMkLst>
      </pc:sldChg>
      <pc:sldChg chg="modSp mod">
        <pc:chgData name="Rochelle Boland" userId="86fda904-73bb-4d24-9ca9-bad9a30c9062" providerId="ADAL" clId="{233BD853-46F9-414A-A681-3E9C3593E1F5}" dt="2022-12-07T00:03:56.051" v="16" actId="554"/>
        <pc:sldMkLst>
          <pc:docMk/>
          <pc:sldMk cId="2753972929" sldId="2147471482"/>
        </pc:sldMkLst>
        <pc:spChg chg="mod">
          <ac:chgData name="Rochelle Boland" userId="86fda904-73bb-4d24-9ca9-bad9a30c9062" providerId="ADAL" clId="{233BD853-46F9-414A-A681-3E9C3593E1F5}" dt="2022-12-07T00:03:38.371" v="14" actId="1036"/>
          <ac:spMkLst>
            <pc:docMk/>
            <pc:sldMk cId="2753972929" sldId="2147471482"/>
            <ac:spMk id="11" creationId="{494548D1-5F40-F3A2-AD47-4ED86D6729A2}"/>
          </ac:spMkLst>
        </pc:spChg>
        <pc:spChg chg="mod">
          <ac:chgData name="Rochelle Boland" userId="86fda904-73bb-4d24-9ca9-bad9a30c9062" providerId="ADAL" clId="{233BD853-46F9-414A-A681-3E9C3593E1F5}" dt="2022-12-07T00:03:26.472" v="10" actId="554"/>
          <ac:spMkLst>
            <pc:docMk/>
            <pc:sldMk cId="2753972929" sldId="2147471482"/>
            <ac:spMk id="90" creationId="{F91D5DC4-296C-C5A2-D44E-9A5263CDEFB2}"/>
          </ac:spMkLst>
        </pc:spChg>
        <pc:spChg chg="mod">
          <ac:chgData name="Rochelle Boland" userId="86fda904-73bb-4d24-9ca9-bad9a30c9062" providerId="ADAL" clId="{233BD853-46F9-414A-A681-3E9C3593E1F5}" dt="2022-12-07T00:03:38.371" v="14" actId="1036"/>
          <ac:spMkLst>
            <pc:docMk/>
            <pc:sldMk cId="2753972929" sldId="2147471482"/>
            <ac:spMk id="91" creationId="{4B70E851-1D87-78F4-98C6-B31BE6B1BAE7}"/>
          </ac:spMkLst>
        </pc:spChg>
        <pc:spChg chg="mod">
          <ac:chgData name="Rochelle Boland" userId="86fda904-73bb-4d24-9ca9-bad9a30c9062" providerId="ADAL" clId="{233BD853-46F9-414A-A681-3E9C3593E1F5}" dt="2022-12-07T00:03:49.902" v="15" actId="554"/>
          <ac:spMkLst>
            <pc:docMk/>
            <pc:sldMk cId="2753972929" sldId="2147471482"/>
            <ac:spMk id="94" creationId="{64512B08-8637-9C80-97F7-E956543109F5}"/>
          </ac:spMkLst>
        </pc:spChg>
        <pc:spChg chg="mod">
          <ac:chgData name="Rochelle Boland" userId="86fda904-73bb-4d24-9ca9-bad9a30c9062" providerId="ADAL" clId="{233BD853-46F9-414A-A681-3E9C3593E1F5}" dt="2022-12-07T00:03:49.902" v="15" actId="554"/>
          <ac:spMkLst>
            <pc:docMk/>
            <pc:sldMk cId="2753972929" sldId="2147471482"/>
            <ac:spMk id="97" creationId="{8616C0A5-5F85-FAC5-A8B4-C84434185EF0}"/>
          </ac:spMkLst>
        </pc:spChg>
        <pc:spChg chg="mod">
          <ac:chgData name="Rochelle Boland" userId="86fda904-73bb-4d24-9ca9-bad9a30c9062" providerId="ADAL" clId="{233BD853-46F9-414A-A681-3E9C3593E1F5}" dt="2022-12-07T00:03:49.902" v="15" actId="554"/>
          <ac:spMkLst>
            <pc:docMk/>
            <pc:sldMk cId="2753972929" sldId="2147471482"/>
            <ac:spMk id="99" creationId="{6163BAF9-FE22-6DC4-F520-3AB3F53E24B8}"/>
          </ac:spMkLst>
        </pc:spChg>
        <pc:spChg chg="mod">
          <ac:chgData name="Rochelle Boland" userId="86fda904-73bb-4d24-9ca9-bad9a30c9062" providerId="ADAL" clId="{233BD853-46F9-414A-A681-3E9C3593E1F5}" dt="2022-12-07T00:03:26.472" v="10" actId="554"/>
          <ac:spMkLst>
            <pc:docMk/>
            <pc:sldMk cId="2753972929" sldId="2147471482"/>
            <ac:spMk id="100" creationId="{2E60C001-1D03-A2BD-DF69-1802CCC751B6}"/>
          </ac:spMkLst>
        </pc:spChg>
        <pc:spChg chg="mod">
          <ac:chgData name="Rochelle Boland" userId="86fda904-73bb-4d24-9ca9-bad9a30c9062" providerId="ADAL" clId="{233BD853-46F9-414A-A681-3E9C3593E1F5}" dt="2022-12-07T00:03:31.762" v="11" actId="554"/>
          <ac:spMkLst>
            <pc:docMk/>
            <pc:sldMk cId="2753972929" sldId="2147471482"/>
            <ac:spMk id="101" creationId="{94972A8F-CD94-CBB6-50CC-D6BD61F92077}"/>
          </ac:spMkLst>
        </pc:spChg>
        <pc:spChg chg="mod">
          <ac:chgData name="Rochelle Boland" userId="86fda904-73bb-4d24-9ca9-bad9a30c9062" providerId="ADAL" clId="{233BD853-46F9-414A-A681-3E9C3593E1F5}" dt="2022-12-07T00:03:31.762" v="11" actId="554"/>
          <ac:spMkLst>
            <pc:docMk/>
            <pc:sldMk cId="2753972929" sldId="2147471482"/>
            <ac:spMk id="102" creationId="{5E1AC874-8CDD-D810-F061-D494AFB3F2E2}"/>
          </ac:spMkLst>
        </pc:spChg>
        <pc:spChg chg="mod">
          <ac:chgData name="Rochelle Boland" userId="86fda904-73bb-4d24-9ca9-bad9a30c9062" providerId="ADAL" clId="{233BD853-46F9-414A-A681-3E9C3593E1F5}" dt="2022-12-07T00:03:26.472" v="10" actId="554"/>
          <ac:spMkLst>
            <pc:docMk/>
            <pc:sldMk cId="2753972929" sldId="2147471482"/>
            <ac:spMk id="104" creationId="{60F5E49C-CF96-F755-F8A9-97CA8C926B07}"/>
          </ac:spMkLst>
        </pc:spChg>
        <pc:spChg chg="mod">
          <ac:chgData name="Rochelle Boland" userId="86fda904-73bb-4d24-9ca9-bad9a30c9062" providerId="ADAL" clId="{233BD853-46F9-414A-A681-3E9C3593E1F5}" dt="2022-12-07T00:03:26.472" v="10" actId="554"/>
          <ac:spMkLst>
            <pc:docMk/>
            <pc:sldMk cId="2753972929" sldId="2147471482"/>
            <ac:spMk id="105" creationId="{D5BCE49F-B468-FE74-205A-4C5C3C8BEA2C}"/>
          </ac:spMkLst>
        </pc:spChg>
        <pc:spChg chg="mod">
          <ac:chgData name="Rochelle Boland" userId="86fda904-73bb-4d24-9ca9-bad9a30c9062" providerId="ADAL" clId="{233BD853-46F9-414A-A681-3E9C3593E1F5}" dt="2022-12-07T00:03:56.051" v="16" actId="554"/>
          <ac:spMkLst>
            <pc:docMk/>
            <pc:sldMk cId="2753972929" sldId="2147471482"/>
            <ac:spMk id="107" creationId="{1DB15CC5-9A84-C3F1-054E-D986596C89E1}"/>
          </ac:spMkLst>
        </pc:spChg>
        <pc:spChg chg="mod">
          <ac:chgData name="Rochelle Boland" userId="86fda904-73bb-4d24-9ca9-bad9a30c9062" providerId="ADAL" clId="{233BD853-46F9-414A-A681-3E9C3593E1F5}" dt="2022-12-07T00:03:56.051" v="16" actId="554"/>
          <ac:spMkLst>
            <pc:docMk/>
            <pc:sldMk cId="2753972929" sldId="2147471482"/>
            <ac:spMk id="108" creationId="{199BB44E-5DC3-F268-AE3D-F8E67B9876AB}"/>
          </ac:spMkLst>
        </pc:spChg>
      </pc:sldChg>
      <pc:sldChg chg="del">
        <pc:chgData name="Rochelle Boland" userId="86fda904-73bb-4d24-9ca9-bad9a30c9062" providerId="ADAL" clId="{233BD853-46F9-414A-A681-3E9C3593E1F5}" dt="2022-12-07T00:04:00.440" v="17" actId="47"/>
        <pc:sldMkLst>
          <pc:docMk/>
          <pc:sldMk cId="1342349839" sldId="2147471485"/>
        </pc:sldMkLst>
      </pc:sldChg>
      <pc:sldChg chg="add">
        <pc:chgData name="Rochelle Boland" userId="86fda904-73bb-4d24-9ca9-bad9a30c9062" providerId="ADAL" clId="{233BD853-46F9-414A-A681-3E9C3593E1F5}" dt="2022-12-07T00:02:54.822" v="8"/>
        <pc:sldMkLst>
          <pc:docMk/>
          <pc:sldMk cId="2941086185" sldId="2147471499"/>
        </pc:sldMkLst>
      </pc:sldChg>
      <pc:sldChg chg="add">
        <pc:chgData name="Rochelle Boland" userId="86fda904-73bb-4d24-9ca9-bad9a30c9062" providerId="ADAL" clId="{233BD853-46F9-414A-A681-3E9C3593E1F5}" dt="2022-12-07T00:04:10.336" v="18"/>
        <pc:sldMkLst>
          <pc:docMk/>
          <pc:sldMk cId="3786451043" sldId="2147471500"/>
        </pc:sldMkLst>
      </pc:sldChg>
      <pc:sldChg chg="add">
        <pc:chgData name="Rochelle Boland" userId="86fda904-73bb-4d24-9ca9-bad9a30c9062" providerId="ADAL" clId="{233BD853-46F9-414A-A681-3E9C3593E1F5}" dt="2022-12-07T00:05:27.631" v="21"/>
        <pc:sldMkLst>
          <pc:docMk/>
          <pc:sldMk cId="785644838" sldId="2147471501"/>
        </pc:sldMkLst>
      </pc:sldChg>
    </pc:docChg>
  </pc:docChgLst>
  <pc:docChgLst>
    <pc:chgData name="Jason Madden" userId="bc5fc663-4acf-4c70-beae-e4d4354e4ea1" providerId="ADAL" clId="{5C2EB814-1DE7-499E-A2A9-5E0A98586D2B}"/>
    <pc:docChg chg="undo custSel delSld modSld replTag">
      <pc:chgData name="Jason Madden" userId="bc5fc663-4acf-4c70-beae-e4d4354e4ea1" providerId="ADAL" clId="{5C2EB814-1DE7-499E-A2A9-5E0A98586D2B}" dt="2022-11-15T11:07:46.857" v="490"/>
      <pc:docMkLst>
        <pc:docMk/>
      </pc:docMkLst>
      <pc:sldChg chg="addSp modSp mod">
        <pc:chgData name="Jason Madden" userId="bc5fc663-4acf-4c70-beae-e4d4354e4ea1" providerId="ADAL" clId="{5C2EB814-1DE7-499E-A2A9-5E0A98586D2B}" dt="2022-11-15T10:39:18.841" v="198" actId="14100"/>
        <pc:sldMkLst>
          <pc:docMk/>
          <pc:sldMk cId="2525408289" sldId="2147470749"/>
        </pc:sldMkLst>
        <pc:spChg chg="add mod">
          <ac:chgData name="Jason Madden" userId="bc5fc663-4acf-4c70-beae-e4d4354e4ea1" providerId="ADAL" clId="{5C2EB814-1DE7-499E-A2A9-5E0A98586D2B}" dt="2022-11-15T10:39:18.841" v="198" actId="14100"/>
          <ac:spMkLst>
            <pc:docMk/>
            <pc:sldMk cId="2525408289" sldId="2147470749"/>
            <ac:spMk id="5" creationId="{2DEF0F0F-C2D3-6B70-92BE-19445AC9D95F}"/>
          </ac:spMkLst>
        </pc:spChg>
      </pc:sldChg>
      <pc:sldChg chg="addSp modSp mod">
        <pc:chgData name="Jason Madden" userId="bc5fc663-4acf-4c70-beae-e4d4354e4ea1" providerId="ADAL" clId="{5C2EB814-1DE7-499E-A2A9-5E0A98586D2B}" dt="2022-11-15T10:34:11.254" v="173" actId="20577"/>
        <pc:sldMkLst>
          <pc:docMk/>
          <pc:sldMk cId="4035091018" sldId="2147470936"/>
        </pc:sldMkLst>
        <pc:spChg chg="add mod">
          <ac:chgData name="Jason Madden" userId="bc5fc663-4acf-4c70-beae-e4d4354e4ea1" providerId="ADAL" clId="{5C2EB814-1DE7-499E-A2A9-5E0A98586D2B}" dt="2022-11-15T10:34:11.254" v="173" actId="20577"/>
          <ac:spMkLst>
            <pc:docMk/>
            <pc:sldMk cId="4035091018" sldId="2147470936"/>
            <ac:spMk id="5" creationId="{4F1F11A0-4EAD-9132-327E-CEB23F76E0C3}"/>
          </ac:spMkLst>
        </pc:spChg>
      </pc:sldChg>
      <pc:sldChg chg="modSp mod delCm">
        <pc:chgData name="Jason Madden" userId="bc5fc663-4acf-4c70-beae-e4d4354e4ea1" providerId="ADAL" clId="{5C2EB814-1DE7-499E-A2A9-5E0A98586D2B}" dt="2022-11-15T10:45:28.354" v="251"/>
        <pc:sldMkLst>
          <pc:docMk/>
          <pc:sldMk cId="1846986556" sldId="2147471183"/>
        </pc:sldMkLst>
        <pc:spChg chg="mod">
          <ac:chgData name="Jason Madden" userId="bc5fc663-4acf-4c70-beae-e4d4354e4ea1" providerId="ADAL" clId="{5C2EB814-1DE7-499E-A2A9-5E0A98586D2B}" dt="2022-11-15T10:43:12.909" v="206" actId="20577"/>
          <ac:spMkLst>
            <pc:docMk/>
            <pc:sldMk cId="1846986556" sldId="2147471183"/>
            <ac:spMk id="8" creationId="{5191599D-1C63-CCCD-2A6C-F9B2A0670801}"/>
          </ac:spMkLst>
        </pc:spChg>
        <pc:spChg chg="mod">
          <ac:chgData name="Jason Madden" userId="bc5fc663-4acf-4c70-beae-e4d4354e4ea1" providerId="ADAL" clId="{5C2EB814-1DE7-499E-A2A9-5E0A98586D2B}" dt="2022-11-15T10:43:25.129" v="210" actId="20577"/>
          <ac:spMkLst>
            <pc:docMk/>
            <pc:sldMk cId="1846986556" sldId="2147471183"/>
            <ac:spMk id="10" creationId="{3FA2888B-485C-9C1D-C93E-B4D5E121511C}"/>
          </ac:spMkLst>
        </pc:spChg>
        <pc:spChg chg="mod">
          <ac:chgData name="Jason Madden" userId="bc5fc663-4acf-4c70-beae-e4d4354e4ea1" providerId="ADAL" clId="{5C2EB814-1DE7-499E-A2A9-5E0A98586D2B}" dt="2022-11-15T10:45:28.354" v="251"/>
          <ac:spMkLst>
            <pc:docMk/>
            <pc:sldMk cId="1846986556" sldId="2147471183"/>
            <ac:spMk id="11" creationId="{02A0A6FF-45AF-A32E-83B9-EF2A21AE84BC}"/>
          </ac:spMkLst>
        </pc:spChg>
        <pc:spChg chg="mod">
          <ac:chgData name="Jason Madden" userId="bc5fc663-4acf-4c70-beae-e4d4354e4ea1" providerId="ADAL" clId="{5C2EB814-1DE7-499E-A2A9-5E0A98586D2B}" dt="2022-11-15T10:43:29.347" v="212" actId="20577"/>
          <ac:spMkLst>
            <pc:docMk/>
            <pc:sldMk cId="1846986556" sldId="2147471183"/>
            <ac:spMk id="16" creationId="{84E15DB6-124F-E541-18DB-D6F7236977AF}"/>
          </ac:spMkLst>
        </pc:spChg>
        <pc:spChg chg="mod">
          <ac:chgData name="Jason Madden" userId="bc5fc663-4acf-4c70-beae-e4d4354e4ea1" providerId="ADAL" clId="{5C2EB814-1DE7-499E-A2A9-5E0A98586D2B}" dt="2022-11-15T10:43:26.288" v="211" actId="20577"/>
          <ac:spMkLst>
            <pc:docMk/>
            <pc:sldMk cId="1846986556" sldId="2147471183"/>
            <ac:spMk id="17" creationId="{82F0EE4C-EB62-5988-B549-9AD60E9B2ED6}"/>
          </ac:spMkLst>
        </pc:spChg>
        <pc:spChg chg="mod">
          <ac:chgData name="Jason Madden" userId="bc5fc663-4acf-4c70-beae-e4d4354e4ea1" providerId="ADAL" clId="{5C2EB814-1DE7-499E-A2A9-5E0A98586D2B}" dt="2022-11-15T10:44:45.772" v="235" actId="20577"/>
          <ac:spMkLst>
            <pc:docMk/>
            <pc:sldMk cId="1846986556" sldId="2147471183"/>
            <ac:spMk id="27" creationId="{E3CE2B5E-94F3-8482-68FD-829026D99142}"/>
          </ac:spMkLst>
        </pc:spChg>
      </pc:sldChg>
      <pc:sldChg chg="modSp mod delCm">
        <pc:chgData name="Jason Madden" userId="bc5fc663-4acf-4c70-beae-e4d4354e4ea1" providerId="ADAL" clId="{5C2EB814-1DE7-499E-A2A9-5E0A98586D2B}" dt="2022-11-15T10:45:36.093" v="253" actId="1592"/>
        <pc:sldMkLst>
          <pc:docMk/>
          <pc:sldMk cId="3143279855" sldId="2147471228"/>
        </pc:sldMkLst>
        <pc:spChg chg="mod">
          <ac:chgData name="Jason Madden" userId="bc5fc663-4acf-4c70-beae-e4d4354e4ea1" providerId="ADAL" clId="{5C2EB814-1DE7-499E-A2A9-5E0A98586D2B}" dt="2022-11-15T10:44:59.837" v="238" actId="20577"/>
          <ac:spMkLst>
            <pc:docMk/>
            <pc:sldMk cId="3143279855" sldId="2147471228"/>
            <ac:spMk id="8" creationId="{5191599D-1C63-CCCD-2A6C-F9B2A0670801}"/>
          </ac:spMkLst>
        </pc:spChg>
        <pc:spChg chg="mod">
          <ac:chgData name="Jason Madden" userId="bc5fc663-4acf-4c70-beae-e4d4354e4ea1" providerId="ADAL" clId="{5C2EB814-1DE7-499E-A2A9-5E0A98586D2B}" dt="2022-11-15T10:45:05.564" v="242" actId="20577"/>
          <ac:spMkLst>
            <pc:docMk/>
            <pc:sldMk cId="3143279855" sldId="2147471228"/>
            <ac:spMk id="10" creationId="{3FA2888B-485C-9C1D-C93E-B4D5E121511C}"/>
          </ac:spMkLst>
        </pc:spChg>
        <pc:spChg chg="mod">
          <ac:chgData name="Jason Madden" userId="bc5fc663-4acf-4c70-beae-e4d4354e4ea1" providerId="ADAL" clId="{5C2EB814-1DE7-499E-A2A9-5E0A98586D2B}" dt="2022-11-15T10:45:33.007" v="252"/>
          <ac:spMkLst>
            <pc:docMk/>
            <pc:sldMk cId="3143279855" sldId="2147471228"/>
            <ac:spMk id="11" creationId="{02A0A6FF-45AF-A32E-83B9-EF2A21AE84BC}"/>
          </ac:spMkLst>
        </pc:spChg>
        <pc:spChg chg="mod">
          <ac:chgData name="Jason Madden" userId="bc5fc663-4acf-4c70-beae-e4d4354e4ea1" providerId="ADAL" clId="{5C2EB814-1DE7-499E-A2A9-5E0A98586D2B}" dt="2022-11-15T10:45:02.579" v="239" actId="20577"/>
          <ac:spMkLst>
            <pc:docMk/>
            <pc:sldMk cId="3143279855" sldId="2147471228"/>
            <ac:spMk id="16" creationId="{84E15DB6-124F-E541-18DB-D6F7236977AF}"/>
          </ac:spMkLst>
        </pc:spChg>
        <pc:spChg chg="mod">
          <ac:chgData name="Jason Madden" userId="bc5fc663-4acf-4c70-beae-e4d4354e4ea1" providerId="ADAL" clId="{5C2EB814-1DE7-499E-A2A9-5E0A98586D2B}" dt="2022-11-15T10:45:08.124" v="245" actId="20577"/>
          <ac:spMkLst>
            <pc:docMk/>
            <pc:sldMk cId="3143279855" sldId="2147471228"/>
            <ac:spMk id="17" creationId="{82F0EE4C-EB62-5988-B549-9AD60E9B2ED6}"/>
          </ac:spMkLst>
        </pc:spChg>
        <pc:spChg chg="mod">
          <ac:chgData name="Jason Madden" userId="bc5fc663-4acf-4c70-beae-e4d4354e4ea1" providerId="ADAL" clId="{5C2EB814-1DE7-499E-A2A9-5E0A98586D2B}" dt="2022-11-15T10:45:11.731" v="248" actId="20577"/>
          <ac:spMkLst>
            <pc:docMk/>
            <pc:sldMk cId="3143279855" sldId="2147471228"/>
            <ac:spMk id="27" creationId="{E3CE2B5E-94F3-8482-68FD-829026D99142}"/>
          </ac:spMkLst>
        </pc:spChg>
      </pc:sldChg>
      <pc:sldChg chg="addSp delSp modSp mod">
        <pc:chgData name="Jason Madden" userId="bc5fc663-4acf-4c70-beae-e4d4354e4ea1" providerId="ADAL" clId="{5C2EB814-1DE7-499E-A2A9-5E0A98586D2B}" dt="2022-11-15T10:49:54.508" v="321" actId="478"/>
        <pc:sldMkLst>
          <pc:docMk/>
          <pc:sldMk cId="2102163021" sldId="2147471229"/>
        </pc:sldMkLst>
        <pc:spChg chg="mod">
          <ac:chgData name="Jason Madden" userId="bc5fc663-4acf-4c70-beae-e4d4354e4ea1" providerId="ADAL" clId="{5C2EB814-1DE7-499E-A2A9-5E0A98586D2B}" dt="2022-11-15T10:49:08.756" v="316" actId="948"/>
          <ac:spMkLst>
            <pc:docMk/>
            <pc:sldMk cId="2102163021" sldId="2147471229"/>
            <ac:spMk id="2" creationId="{AB9554DF-599D-F287-7CDD-C37689E82DF4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3" creationId="{2E1DC840-13C9-4B15-9547-F823477D5581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5" creationId="{2ADC2C79-8A35-4608-B113-A09FDF44E7A9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7" creationId="{16F90050-7748-64CC-A392-504E67DD0958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9" creationId="{79E822B6-99BD-2DE7-D2C5-A93076DC3CB5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0" creationId="{C1174DF3-CA19-EC97-67BF-9C79F198223D}"/>
          </ac:spMkLst>
        </pc:spChg>
        <pc:spChg chg="add 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11" creationId="{9931C4B1-7DEF-5E93-8460-9DF4BAECCA0C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2" creationId="{A525A7EF-F5AE-C5CD-9ECB-DCCD01FBE718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4" creationId="{19741940-021F-04B6-547C-44925FEC0DA6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5" creationId="{8D678C59-5970-67C0-400B-5C895B1EAF1C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6" creationId="{A2ED7A73-4705-C902-AF82-5F022486C2F6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7" creationId="{445F1645-860C-9009-2521-A162EAFA6E30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8" creationId="{A73822AB-D526-7D08-6361-B5A874C42511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19" creationId="{FBA574F4-3CB1-E32E-6807-922337B6A7EC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20" creationId="{B2841A89-0010-D9A3-7965-2336CD1DAA9D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21" creationId="{4FD7C3DF-C0FA-3DB7-734B-6F79982D8E7D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22" creationId="{53FA0023-1F29-D9A9-63C6-0802DF1E7749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23" creationId="{24447A03-6467-33D5-4798-1E93020BFC54}"/>
          </ac:spMkLst>
        </pc:spChg>
        <pc:spChg chg="add 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24" creationId="{B4C009C1-83DD-2DC5-8984-4765EE344B0F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26" creationId="{75E44224-8E26-478E-228D-F7ECF1E834BF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27" creationId="{404F9616-DB79-99E9-4579-2CEE144A567D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28" creationId="{0F545639-B8D6-B524-34F9-05C1C6939066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0" creationId="{6F9A94EA-8E9B-7ED5-5965-450F5577F98B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2" creationId="{93FCC203-C791-273C-0634-EC96773C8CB5}"/>
          </ac:spMkLst>
        </pc:spChg>
        <pc:spChg chg="del">
          <ac:chgData name="Jason Madden" userId="bc5fc663-4acf-4c70-beae-e4d4354e4ea1" providerId="ADAL" clId="{5C2EB814-1DE7-499E-A2A9-5E0A98586D2B}" dt="2022-11-15T10:47:15.622" v="268" actId="478"/>
          <ac:spMkLst>
            <pc:docMk/>
            <pc:sldMk cId="2102163021" sldId="2147471229"/>
            <ac:spMk id="33" creationId="{2EAAFDEB-48AC-D512-354E-89217147EC82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4" creationId="{0E364E23-47FE-EFA3-F541-05FFF70C2A53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5" creationId="{8020C6F2-D77A-45B1-CE28-410427CA6C67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6" creationId="{94D6CCB7-946D-B416-9EE0-86ECD04EBDB1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7" creationId="{CC5D4D0A-2045-0A69-87FC-7A9B119B4A30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39" creationId="{224D1F9B-4875-0DD7-72F5-87F015AD13C4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40" creationId="{221ECD3D-3019-146F-1036-5DC642213167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41" creationId="{5EC1299D-680C-A0E2-2C0D-87B307EBE39B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42" creationId="{87B3113A-8740-FB6E-852F-DF51F46B3725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44" creationId="{CDED4A57-E927-81A9-813F-0A7256543955}"/>
          </ac:spMkLst>
        </pc:spChg>
        <pc:spChg chg="mod">
          <ac:chgData name="Jason Madden" userId="bc5fc663-4acf-4c70-beae-e4d4354e4ea1" providerId="ADAL" clId="{5C2EB814-1DE7-499E-A2A9-5E0A98586D2B}" dt="2022-11-15T10:48:52.764" v="269"/>
          <ac:spMkLst>
            <pc:docMk/>
            <pc:sldMk cId="2102163021" sldId="2147471229"/>
            <ac:spMk id="45" creationId="{FFFC5971-4FD3-C0EE-FF8D-DA0FC8A098B9}"/>
          </ac:spMkLst>
        </pc:spChg>
        <pc:spChg chg="add del mod">
          <ac:chgData name="Jason Madden" userId="bc5fc663-4acf-4c70-beae-e4d4354e4ea1" providerId="ADAL" clId="{5C2EB814-1DE7-499E-A2A9-5E0A98586D2B}" dt="2022-11-15T10:49:54.508" v="321" actId="478"/>
          <ac:spMkLst>
            <pc:docMk/>
            <pc:sldMk cId="2102163021" sldId="2147471229"/>
            <ac:spMk id="46" creationId="{D1FB025B-0C3D-2A4A-9788-CE9118DD5DD6}"/>
          </ac:spMkLst>
        </pc:spChg>
        <pc:spChg chg="add del mod modVis">
          <ac:chgData name="Jason Madden" userId="bc5fc663-4acf-4c70-beae-e4d4354e4ea1" providerId="ADAL" clId="{5C2EB814-1DE7-499E-A2A9-5E0A98586D2B}" dt="2022-11-15T10:49:06.073" v="312"/>
          <ac:spMkLst>
            <pc:docMk/>
            <pc:sldMk cId="2102163021" sldId="2147471229"/>
            <ac:spMk id="47" creationId="{3965DDDA-3A03-22AC-F0BE-1443EF159998}"/>
          </ac:spMkLst>
        </pc:spChg>
        <pc:grpChg chg="add mod">
          <ac:chgData name="Jason Madden" userId="bc5fc663-4acf-4c70-beae-e4d4354e4ea1" providerId="ADAL" clId="{5C2EB814-1DE7-499E-A2A9-5E0A98586D2B}" dt="2022-11-15T10:48:52.764" v="269"/>
          <ac:grpSpMkLst>
            <pc:docMk/>
            <pc:sldMk cId="2102163021" sldId="2147471229"/>
            <ac:grpSpMk id="25" creationId="{41BE5D33-2D46-033D-945E-BA304512738E}"/>
          </ac:grpSpMkLst>
        </pc:grpChg>
        <pc:grpChg chg="add mod">
          <ac:chgData name="Jason Madden" userId="bc5fc663-4acf-4c70-beae-e4d4354e4ea1" providerId="ADAL" clId="{5C2EB814-1DE7-499E-A2A9-5E0A98586D2B}" dt="2022-11-15T10:48:52.764" v="269"/>
          <ac:grpSpMkLst>
            <pc:docMk/>
            <pc:sldMk cId="2102163021" sldId="2147471229"/>
            <ac:grpSpMk id="29" creationId="{55EF9C18-EA95-58B2-2B1D-48076DB5D5E2}"/>
          </ac:grpSpMkLst>
        </pc:grpChg>
        <pc:grpChg chg="add mod">
          <ac:chgData name="Jason Madden" userId="bc5fc663-4acf-4c70-beae-e4d4354e4ea1" providerId="ADAL" clId="{5C2EB814-1DE7-499E-A2A9-5E0A98586D2B}" dt="2022-11-15T10:48:52.764" v="269"/>
          <ac:grpSpMkLst>
            <pc:docMk/>
            <pc:sldMk cId="2102163021" sldId="2147471229"/>
            <ac:grpSpMk id="38" creationId="{63BD7BF3-66C2-5403-BDE6-8F84CF96C5A0}"/>
          </ac:grpSpMkLst>
        </pc:grpChg>
        <pc:graphicFrameChg chg="add mod">
          <ac:chgData name="Jason Madden" userId="bc5fc663-4acf-4c70-beae-e4d4354e4ea1" providerId="ADAL" clId="{5C2EB814-1DE7-499E-A2A9-5E0A98586D2B}" dt="2022-11-15T10:48:52.764" v="269"/>
          <ac:graphicFrameMkLst>
            <pc:docMk/>
            <pc:sldMk cId="2102163021" sldId="2147471229"/>
            <ac:graphicFrameMk id="6" creationId="{47CAD776-6591-A5D2-109F-DD542E2E42D0}"/>
          </ac:graphicFrameMkLst>
        </pc:graphicFrameChg>
        <pc:graphicFrameChg chg="mod">
          <ac:chgData name="Jason Madden" userId="bc5fc663-4acf-4c70-beae-e4d4354e4ea1" providerId="ADAL" clId="{5C2EB814-1DE7-499E-A2A9-5E0A98586D2B}" dt="2022-11-15T10:49:08.764" v="320"/>
          <ac:graphicFrameMkLst>
            <pc:docMk/>
            <pc:sldMk cId="2102163021" sldId="2147471229"/>
            <ac:graphicFrameMk id="8" creationId="{CB3E2F47-8CB6-A2F7-6C47-26C24DE9F9E7}"/>
          </ac:graphicFrameMkLst>
        </pc:graphicFrameChg>
        <pc:graphicFrameChg chg="del">
          <ac:chgData name="Jason Madden" userId="bc5fc663-4acf-4c70-beae-e4d4354e4ea1" providerId="ADAL" clId="{5C2EB814-1DE7-499E-A2A9-5E0A98586D2B}" dt="2022-11-15T10:47:15.622" v="268" actId="478"/>
          <ac:graphicFrameMkLst>
            <pc:docMk/>
            <pc:sldMk cId="2102163021" sldId="2147471229"/>
            <ac:graphicFrameMk id="13" creationId="{193957B6-E48C-3555-A5CB-1E8A9228FF23}"/>
          </ac:graphicFrameMkLst>
        </pc:graphicFrameChg>
        <pc:cxnChg chg="del">
          <ac:chgData name="Jason Madden" userId="bc5fc663-4acf-4c70-beae-e4d4354e4ea1" providerId="ADAL" clId="{5C2EB814-1DE7-499E-A2A9-5E0A98586D2B}" dt="2022-11-15T10:47:15.622" v="268" actId="478"/>
          <ac:cxnSpMkLst>
            <pc:docMk/>
            <pc:sldMk cId="2102163021" sldId="2147471229"/>
            <ac:cxnSpMk id="31" creationId="{C65D037E-7023-33D0-BB58-0630BD73E8D2}"/>
          </ac:cxnSpMkLst>
        </pc:cxnChg>
        <pc:cxnChg chg="mod">
          <ac:chgData name="Jason Madden" userId="bc5fc663-4acf-4c70-beae-e4d4354e4ea1" providerId="ADAL" clId="{5C2EB814-1DE7-499E-A2A9-5E0A98586D2B}" dt="2022-11-15T10:48:52.764" v="269"/>
          <ac:cxnSpMkLst>
            <pc:docMk/>
            <pc:sldMk cId="2102163021" sldId="2147471229"/>
            <ac:cxnSpMk id="43" creationId="{D3C89D7F-ABBA-92EC-EA00-30A56E6C35E5}"/>
          </ac:cxnSpMkLst>
        </pc:cxnChg>
      </pc:sldChg>
      <pc:sldChg chg="addSp modSp mod">
        <pc:chgData name="Jason Madden" userId="bc5fc663-4acf-4c70-beae-e4d4354e4ea1" providerId="ADAL" clId="{5C2EB814-1DE7-499E-A2A9-5E0A98586D2B}" dt="2022-11-15T11:07:20.048" v="488" actId="20577"/>
        <pc:sldMkLst>
          <pc:docMk/>
          <pc:sldMk cId="653926362" sldId="2147471254"/>
        </pc:sldMkLst>
        <pc:spChg chg="add mod">
          <ac:chgData name="Jason Madden" userId="bc5fc663-4acf-4c70-beae-e4d4354e4ea1" providerId="ADAL" clId="{5C2EB814-1DE7-499E-A2A9-5E0A98586D2B}" dt="2022-11-15T11:07:20.048" v="488" actId="20577"/>
          <ac:spMkLst>
            <pc:docMk/>
            <pc:sldMk cId="653926362" sldId="2147471254"/>
            <ac:spMk id="3" creationId="{250EE2F9-13D1-9497-F98A-C1B91205E4DA}"/>
          </ac:spMkLst>
        </pc:spChg>
      </pc:sldChg>
      <pc:sldChg chg="modSp mod delCm">
        <pc:chgData name="Jason Madden" userId="bc5fc663-4acf-4c70-beae-e4d4354e4ea1" providerId="ADAL" clId="{5C2EB814-1DE7-499E-A2A9-5E0A98586D2B}" dt="2022-11-15T10:45:22.283" v="250" actId="20577"/>
        <pc:sldMkLst>
          <pc:docMk/>
          <pc:sldMk cId="3993994809" sldId="2147471266"/>
        </pc:sldMkLst>
        <pc:spChg chg="mod">
          <ac:chgData name="Jason Madden" userId="bc5fc663-4acf-4c70-beae-e4d4354e4ea1" providerId="ADAL" clId="{5C2EB814-1DE7-499E-A2A9-5E0A98586D2B}" dt="2022-11-15T10:43:52.108" v="213" actId="20577"/>
          <ac:spMkLst>
            <pc:docMk/>
            <pc:sldMk cId="3993994809" sldId="2147471266"/>
            <ac:spMk id="51" creationId="{23106514-8345-8C3B-2BD5-ACBDBA4466D2}"/>
          </ac:spMkLst>
        </pc:spChg>
        <pc:spChg chg="mod">
          <ac:chgData name="Jason Madden" userId="bc5fc663-4acf-4c70-beae-e4d4354e4ea1" providerId="ADAL" clId="{5C2EB814-1DE7-499E-A2A9-5E0A98586D2B}" dt="2022-11-15T10:43:55.213" v="215" actId="20577"/>
          <ac:spMkLst>
            <pc:docMk/>
            <pc:sldMk cId="3993994809" sldId="2147471266"/>
            <ac:spMk id="53" creationId="{04EF83D1-2102-7AA2-6F4A-5CEDAC040CCD}"/>
          </ac:spMkLst>
        </pc:spChg>
        <pc:spChg chg="mod">
          <ac:chgData name="Jason Madden" userId="bc5fc663-4acf-4c70-beae-e4d4354e4ea1" providerId="ADAL" clId="{5C2EB814-1DE7-499E-A2A9-5E0A98586D2B}" dt="2022-11-15T10:45:22.283" v="250" actId="20577"/>
          <ac:spMkLst>
            <pc:docMk/>
            <pc:sldMk cId="3993994809" sldId="2147471266"/>
            <ac:spMk id="54" creationId="{A6CDE269-D7A0-9A5C-599E-9AF498C72454}"/>
          </ac:spMkLst>
        </pc:spChg>
        <pc:spChg chg="mod">
          <ac:chgData name="Jason Madden" userId="bc5fc663-4acf-4c70-beae-e4d4354e4ea1" providerId="ADAL" clId="{5C2EB814-1DE7-499E-A2A9-5E0A98586D2B}" dt="2022-11-15T10:43:53.560" v="214" actId="20577"/>
          <ac:spMkLst>
            <pc:docMk/>
            <pc:sldMk cId="3993994809" sldId="2147471266"/>
            <ac:spMk id="65" creationId="{6DE7468C-40DB-3406-40E6-D2F204EC17D7}"/>
          </ac:spMkLst>
        </pc:spChg>
        <pc:spChg chg="mod">
          <ac:chgData name="Jason Madden" userId="bc5fc663-4acf-4c70-beae-e4d4354e4ea1" providerId="ADAL" clId="{5C2EB814-1DE7-499E-A2A9-5E0A98586D2B}" dt="2022-11-15T10:43:56.487" v="216" actId="20577"/>
          <ac:spMkLst>
            <pc:docMk/>
            <pc:sldMk cId="3993994809" sldId="2147471266"/>
            <ac:spMk id="66" creationId="{2F46947E-49C5-F98D-31E7-813B29E8E25C}"/>
          </ac:spMkLst>
        </pc:spChg>
        <pc:spChg chg="mod">
          <ac:chgData name="Jason Madden" userId="bc5fc663-4acf-4c70-beae-e4d4354e4ea1" providerId="ADAL" clId="{5C2EB814-1DE7-499E-A2A9-5E0A98586D2B}" dt="2022-11-15T10:44:42.044" v="234" actId="20577"/>
          <ac:spMkLst>
            <pc:docMk/>
            <pc:sldMk cId="3993994809" sldId="2147471266"/>
            <ac:spMk id="73" creationId="{0F37A7F4-5F7E-37D5-5B2E-D90BA2AE4849}"/>
          </ac:spMkLst>
        </pc:spChg>
      </pc:sldChg>
      <pc:sldChg chg="modSp mod delCm">
        <pc:chgData name="Jason Madden" userId="bc5fc663-4acf-4c70-beae-e4d4354e4ea1" providerId="ADAL" clId="{5C2EB814-1DE7-499E-A2A9-5E0A98586D2B}" dt="2022-11-15T10:40:16.283" v="205"/>
        <pc:sldMkLst>
          <pc:docMk/>
          <pc:sldMk cId="2713228230" sldId="2147471291"/>
        </pc:sldMkLst>
        <pc:graphicFrameChg chg="mod modGraphic">
          <ac:chgData name="Jason Madden" userId="bc5fc663-4acf-4c70-beae-e4d4354e4ea1" providerId="ADAL" clId="{5C2EB814-1DE7-499E-A2A9-5E0A98586D2B}" dt="2022-11-15T10:40:16.283" v="205"/>
          <ac:graphicFrameMkLst>
            <pc:docMk/>
            <pc:sldMk cId="2713228230" sldId="2147471291"/>
            <ac:graphicFrameMk id="5" creationId="{3A67709A-70C1-AF60-FE6A-9DAD44B8DDAD}"/>
          </ac:graphicFrameMkLst>
        </pc:graphicFrameChg>
      </pc:sldChg>
      <pc:sldChg chg="addSp modSp mod">
        <pc:chgData name="Jason Madden" userId="bc5fc663-4acf-4c70-beae-e4d4354e4ea1" providerId="ADAL" clId="{5C2EB814-1DE7-499E-A2A9-5E0A98586D2B}" dt="2022-11-15T10:29:47.531" v="70" actId="20577"/>
        <pc:sldMkLst>
          <pc:docMk/>
          <pc:sldMk cId="1170383945" sldId="2147471308"/>
        </pc:sldMkLst>
        <pc:spChg chg="add mod">
          <ac:chgData name="Jason Madden" userId="bc5fc663-4acf-4c70-beae-e4d4354e4ea1" providerId="ADAL" clId="{5C2EB814-1DE7-499E-A2A9-5E0A98586D2B}" dt="2022-11-15T10:29:47.531" v="70" actId="20577"/>
          <ac:spMkLst>
            <pc:docMk/>
            <pc:sldMk cId="1170383945" sldId="2147471308"/>
            <ac:spMk id="3" creationId="{CA582DE2-D22B-09B1-4B37-C83E8482D1D1}"/>
          </ac:spMkLst>
        </pc:spChg>
      </pc:sldChg>
      <pc:sldChg chg="addSp modSp mod">
        <pc:chgData name="Jason Madden" userId="bc5fc663-4acf-4c70-beae-e4d4354e4ea1" providerId="ADAL" clId="{5C2EB814-1DE7-499E-A2A9-5E0A98586D2B}" dt="2022-11-15T10:27:10.224" v="27" actId="1076"/>
        <pc:sldMkLst>
          <pc:docMk/>
          <pc:sldMk cId="2797958873" sldId="2147471309"/>
        </pc:sldMkLst>
        <pc:spChg chg="add mod">
          <ac:chgData name="Jason Madden" userId="bc5fc663-4acf-4c70-beae-e4d4354e4ea1" providerId="ADAL" clId="{5C2EB814-1DE7-499E-A2A9-5E0A98586D2B}" dt="2022-11-15T10:27:10.224" v="27" actId="1076"/>
          <ac:spMkLst>
            <pc:docMk/>
            <pc:sldMk cId="2797958873" sldId="2147471309"/>
            <ac:spMk id="6" creationId="{B896F5AC-C13F-2280-0F1D-01D4DCDF9479}"/>
          </ac:spMkLst>
        </pc:spChg>
      </pc:sldChg>
      <pc:sldChg chg="del">
        <pc:chgData name="Jason Madden" userId="bc5fc663-4acf-4c70-beae-e4d4354e4ea1" providerId="ADAL" clId="{5C2EB814-1DE7-499E-A2A9-5E0A98586D2B}" dt="2022-11-15T11:00:38.940" v="471" actId="47"/>
        <pc:sldMkLst>
          <pc:docMk/>
          <pc:sldMk cId="1332147740" sldId="2147471312"/>
        </pc:sldMkLst>
      </pc:sldChg>
      <pc:sldChg chg="addSp delSp modSp mod">
        <pc:chgData name="Jason Madden" userId="bc5fc663-4acf-4c70-beae-e4d4354e4ea1" providerId="ADAL" clId="{5C2EB814-1DE7-499E-A2A9-5E0A98586D2B}" dt="2022-11-15T10:57:51.995" v="445"/>
        <pc:sldMkLst>
          <pc:docMk/>
          <pc:sldMk cId="3029628369" sldId="2147471316"/>
        </pc:sldMkLst>
        <pc:spChg chg="mod">
          <ac:chgData name="Jason Madden" userId="bc5fc663-4acf-4c70-beae-e4d4354e4ea1" providerId="ADAL" clId="{5C2EB814-1DE7-499E-A2A9-5E0A98586D2B}" dt="2022-11-15T10:57:51.890" v="326" actId="948"/>
          <ac:spMkLst>
            <pc:docMk/>
            <pc:sldMk cId="3029628369" sldId="2147471316"/>
            <ac:spMk id="2" creationId="{695D065F-F447-4B44-96A5-9336671DF4E6}"/>
          </ac:spMkLst>
        </pc:spChg>
        <pc:spChg chg="add del mod modVis">
          <ac:chgData name="Jason Madden" userId="bc5fc663-4acf-4c70-beae-e4d4354e4ea1" providerId="ADAL" clId="{5C2EB814-1DE7-499E-A2A9-5E0A98586D2B}" dt="2022-11-15T10:57:51.985" v="443"/>
          <ac:spMkLst>
            <pc:docMk/>
            <pc:sldMk cId="3029628369" sldId="2147471316"/>
            <ac:spMk id="3" creationId="{ED02EAA8-464D-483B-3731-E408DCAE9C4C}"/>
          </ac:spMkLst>
        </pc:spChg>
        <pc:spChg chg="mod">
          <ac:chgData name="Jason Madden" userId="bc5fc663-4acf-4c70-beae-e4d4354e4ea1" providerId="ADAL" clId="{5C2EB814-1DE7-499E-A2A9-5E0A98586D2B}" dt="2022-11-15T10:57:51.950" v="371"/>
          <ac:spMkLst>
            <pc:docMk/>
            <pc:sldMk cId="3029628369" sldId="2147471316"/>
            <ac:spMk id="6" creationId="{7FFF68A4-BAC4-4CBE-A87B-99E1E50CCFF2}"/>
          </ac:spMkLst>
        </pc:spChg>
        <pc:spChg chg="mod">
          <ac:chgData name="Jason Madden" userId="bc5fc663-4acf-4c70-beae-e4d4354e4ea1" providerId="ADAL" clId="{5C2EB814-1DE7-499E-A2A9-5E0A98586D2B}" dt="2022-11-15T10:57:51.954" v="379"/>
          <ac:spMkLst>
            <pc:docMk/>
            <pc:sldMk cId="3029628369" sldId="2147471316"/>
            <ac:spMk id="8" creationId="{AB2116BE-5B58-4039-9D77-69F74876FC0F}"/>
          </ac:spMkLst>
        </pc:spChg>
        <pc:spChg chg="mod">
          <ac:chgData name="Jason Madden" userId="bc5fc663-4acf-4c70-beae-e4d4354e4ea1" providerId="ADAL" clId="{5C2EB814-1DE7-499E-A2A9-5E0A98586D2B}" dt="2022-11-15T10:57:51.958" v="389" actId="139"/>
          <ac:spMkLst>
            <pc:docMk/>
            <pc:sldMk cId="3029628369" sldId="2147471316"/>
            <ac:spMk id="9" creationId="{87665C45-3BDE-4336-802F-76B4C900EC71}"/>
          </ac:spMkLst>
        </pc:spChg>
        <pc:spChg chg="mod">
          <ac:chgData name="Jason Madden" userId="bc5fc663-4acf-4c70-beae-e4d4354e4ea1" providerId="ADAL" clId="{5C2EB814-1DE7-499E-A2A9-5E0A98586D2B}" dt="2022-11-15T10:57:51.961" v="397"/>
          <ac:spMkLst>
            <pc:docMk/>
            <pc:sldMk cId="3029628369" sldId="2147471316"/>
            <ac:spMk id="10" creationId="{A064B3D4-6DE8-4187-BF7A-414A6DAD1640}"/>
          </ac:spMkLst>
        </pc:spChg>
        <pc:spChg chg="mod">
          <ac:chgData name="Jason Madden" userId="bc5fc663-4acf-4c70-beae-e4d4354e4ea1" providerId="ADAL" clId="{5C2EB814-1DE7-499E-A2A9-5E0A98586D2B}" dt="2022-11-15T10:57:51.966" v="407" actId="139"/>
          <ac:spMkLst>
            <pc:docMk/>
            <pc:sldMk cId="3029628369" sldId="2147471316"/>
            <ac:spMk id="11" creationId="{4B051784-E6CA-4A42-9452-07BD530EF9C9}"/>
          </ac:spMkLst>
        </pc:spChg>
        <pc:spChg chg="mod">
          <ac:chgData name="Jason Madden" userId="bc5fc663-4acf-4c70-beae-e4d4354e4ea1" providerId="ADAL" clId="{5C2EB814-1DE7-499E-A2A9-5E0A98586D2B}" dt="2022-11-15T10:57:51.968" v="415"/>
          <ac:spMkLst>
            <pc:docMk/>
            <pc:sldMk cId="3029628369" sldId="2147471316"/>
            <ac:spMk id="12" creationId="{ACA3B9ED-5874-46C1-A7C0-6263CC8FD432}"/>
          </ac:spMkLst>
        </pc:spChg>
        <pc:spChg chg="mod">
          <ac:chgData name="Jason Madden" userId="bc5fc663-4acf-4c70-beae-e4d4354e4ea1" providerId="ADAL" clId="{5C2EB814-1DE7-499E-A2A9-5E0A98586D2B}" dt="2022-11-15T10:57:51.978" v="429"/>
          <ac:spMkLst>
            <pc:docMk/>
            <pc:sldMk cId="3029628369" sldId="2147471316"/>
            <ac:spMk id="13" creationId="{C6D325D1-CCF1-4B56-867F-8CAEBC66D795}"/>
          </ac:spMkLst>
        </pc:spChg>
        <pc:spChg chg="mod">
          <ac:chgData name="Jason Madden" userId="bc5fc663-4acf-4c70-beae-e4d4354e4ea1" providerId="ADAL" clId="{5C2EB814-1DE7-499E-A2A9-5E0A98586D2B}" dt="2022-11-15T10:57:51.983" v="439" actId="139"/>
          <ac:spMkLst>
            <pc:docMk/>
            <pc:sldMk cId="3029628369" sldId="2147471316"/>
            <ac:spMk id="14" creationId="{CBC3DE0D-68A6-494B-8DF3-8071502A18B9}"/>
          </ac:spMkLst>
        </pc:spChg>
        <pc:graphicFrameChg chg="mod modGraphic">
          <ac:chgData name="Jason Madden" userId="bc5fc663-4acf-4c70-beae-e4d4354e4ea1" providerId="ADAL" clId="{5C2EB814-1DE7-499E-A2A9-5E0A98586D2B}" dt="2022-11-15T10:57:38.461" v="325" actId="20577"/>
          <ac:graphicFrameMkLst>
            <pc:docMk/>
            <pc:sldMk cId="3029628369" sldId="2147471316"/>
            <ac:graphicFrameMk id="5" creationId="{54ACC98F-FCBB-48CE-8F70-8D13F7E22E42}"/>
          </ac:graphicFrameMkLst>
        </pc:graphicFrameChg>
        <pc:graphicFrameChg chg="mod">
          <ac:chgData name="Jason Madden" userId="bc5fc663-4acf-4c70-beae-e4d4354e4ea1" providerId="ADAL" clId="{5C2EB814-1DE7-499E-A2A9-5E0A98586D2B}" dt="2022-11-15T10:57:51.995" v="445"/>
          <ac:graphicFrameMkLst>
            <pc:docMk/>
            <pc:sldMk cId="3029628369" sldId="2147471316"/>
            <ac:graphicFrameMk id="15" creationId="{45FBD9AD-B35F-4EF8-82DB-3BEF8883EDCA}"/>
          </ac:graphicFrameMkLst>
        </pc:graphicFrameChg>
      </pc:sldChg>
      <pc:sldChg chg="addSp modSp">
        <pc:chgData name="Jason Madden" userId="bc5fc663-4acf-4c70-beae-e4d4354e4ea1" providerId="ADAL" clId="{5C2EB814-1DE7-499E-A2A9-5E0A98586D2B}" dt="2022-11-15T11:07:46.857" v="490"/>
        <pc:sldMkLst>
          <pc:docMk/>
          <pc:sldMk cId="2871167043" sldId="2147471326"/>
        </pc:sldMkLst>
        <pc:spChg chg="add mod">
          <ac:chgData name="Jason Madden" userId="bc5fc663-4acf-4c70-beae-e4d4354e4ea1" providerId="ADAL" clId="{5C2EB814-1DE7-499E-A2A9-5E0A98586D2B}" dt="2022-11-15T11:07:46.857" v="490"/>
          <ac:spMkLst>
            <pc:docMk/>
            <pc:sldMk cId="2871167043" sldId="2147471326"/>
            <ac:spMk id="12" creationId="{DD3C156D-AC68-4DE9-4BBE-B0AD2CFC3B03}"/>
          </ac:spMkLst>
        </pc:spChg>
      </pc:sldChg>
      <pc:sldChg chg="addSp modSp">
        <pc:chgData name="Jason Madden" userId="bc5fc663-4acf-4c70-beae-e4d4354e4ea1" providerId="ADAL" clId="{5C2EB814-1DE7-499E-A2A9-5E0A98586D2B}" dt="2022-11-15T11:07:33.723" v="489"/>
        <pc:sldMkLst>
          <pc:docMk/>
          <pc:sldMk cId="27450784" sldId="2147471327"/>
        </pc:sldMkLst>
        <pc:spChg chg="add mod">
          <ac:chgData name="Jason Madden" userId="bc5fc663-4acf-4c70-beae-e4d4354e4ea1" providerId="ADAL" clId="{5C2EB814-1DE7-499E-A2A9-5E0A98586D2B}" dt="2022-11-15T11:07:33.723" v="489"/>
          <ac:spMkLst>
            <pc:docMk/>
            <pc:sldMk cId="27450784" sldId="2147471327"/>
            <ac:spMk id="3" creationId="{A08CE636-7AA3-6F44-813B-02E4B405B8AD}"/>
          </ac:spMkLst>
        </pc:spChg>
      </pc:sldChg>
      <pc:sldChg chg="addSp modSp mod">
        <pc:chgData name="Jason Madden" userId="bc5fc663-4acf-4c70-beae-e4d4354e4ea1" providerId="ADAL" clId="{5C2EB814-1DE7-499E-A2A9-5E0A98586D2B}" dt="2022-11-15T10:46:45.970" v="267" actId="20577"/>
        <pc:sldMkLst>
          <pc:docMk/>
          <pc:sldMk cId="3535271327" sldId="2147471335"/>
        </pc:sldMkLst>
        <pc:spChg chg="add mod">
          <ac:chgData name="Jason Madden" userId="bc5fc663-4acf-4c70-beae-e4d4354e4ea1" providerId="ADAL" clId="{5C2EB814-1DE7-499E-A2A9-5E0A98586D2B}" dt="2022-11-15T10:46:45.970" v="267" actId="20577"/>
          <ac:spMkLst>
            <pc:docMk/>
            <pc:sldMk cId="3535271327" sldId="2147471335"/>
            <ac:spMk id="3" creationId="{FE2C5C46-E869-96A4-A6DC-F9691EE66AC3}"/>
          </ac:spMkLst>
        </pc:spChg>
      </pc:sldChg>
      <pc:sldChg chg="addSp modSp mod">
        <pc:chgData name="Jason Madden" userId="bc5fc663-4acf-4c70-beae-e4d4354e4ea1" providerId="ADAL" clId="{5C2EB814-1DE7-499E-A2A9-5E0A98586D2B}" dt="2022-11-15T10:59:35.314" v="469" actId="20577"/>
        <pc:sldMkLst>
          <pc:docMk/>
          <pc:sldMk cId="4100271353" sldId="2147471336"/>
        </pc:sldMkLst>
        <pc:spChg chg="add mod">
          <ac:chgData name="Jason Madden" userId="bc5fc663-4acf-4c70-beae-e4d4354e4ea1" providerId="ADAL" clId="{5C2EB814-1DE7-499E-A2A9-5E0A98586D2B}" dt="2022-11-15T10:59:35.314" v="469" actId="20577"/>
          <ac:spMkLst>
            <pc:docMk/>
            <pc:sldMk cId="4100271353" sldId="2147471336"/>
            <ac:spMk id="7" creationId="{6F1CD9BC-3334-E76C-2D2A-E52D7D3C54B0}"/>
          </ac:spMkLst>
        </pc:spChg>
      </pc:sldChg>
      <pc:sldChg chg="addSp delSp modSp mod">
        <pc:chgData name="Jason Madden" userId="bc5fc663-4acf-4c70-beae-e4d4354e4ea1" providerId="ADAL" clId="{5C2EB814-1DE7-499E-A2A9-5E0A98586D2B}" dt="2022-11-15T11:05:25.201" v="473" actId="478"/>
        <pc:sldMkLst>
          <pc:docMk/>
          <pc:sldMk cId="1397412727" sldId="2147471396"/>
        </pc:sldMkLst>
        <pc:spChg chg="del">
          <ac:chgData name="Jason Madden" userId="bc5fc663-4acf-4c70-beae-e4d4354e4ea1" providerId="ADAL" clId="{5C2EB814-1DE7-499E-A2A9-5E0A98586D2B}" dt="2022-11-15T11:00:19.379" v="470" actId="478"/>
          <ac:spMkLst>
            <pc:docMk/>
            <pc:sldMk cId="1397412727" sldId="2147471396"/>
            <ac:spMk id="67" creationId="{94392E6D-B3BB-50CC-06FA-1FC32A620F74}"/>
          </ac:spMkLst>
        </pc:spChg>
        <pc:spChg chg="add del mod">
          <ac:chgData name="Jason Madden" userId="bc5fc663-4acf-4c70-beae-e4d4354e4ea1" providerId="ADAL" clId="{5C2EB814-1DE7-499E-A2A9-5E0A98586D2B}" dt="2022-11-15T11:05:25.201" v="473" actId="478"/>
          <ac:spMkLst>
            <pc:docMk/>
            <pc:sldMk cId="1397412727" sldId="2147471396"/>
            <ac:spMk id="68" creationId="{9A0FEE8C-14BA-C5FF-1F57-2D8CE1D3D777}"/>
          </ac:spMkLst>
        </pc:spChg>
        <pc:grpChg chg="del">
          <ac:chgData name="Jason Madden" userId="bc5fc663-4acf-4c70-beae-e4d4354e4ea1" providerId="ADAL" clId="{5C2EB814-1DE7-499E-A2A9-5E0A98586D2B}" dt="2022-11-15T11:00:19.379" v="470" actId="478"/>
          <ac:grpSpMkLst>
            <pc:docMk/>
            <pc:sldMk cId="1397412727" sldId="2147471396"/>
            <ac:grpSpMk id="5" creationId="{A1A5C874-CAD9-1DA4-8C20-96317C0B8078}"/>
          </ac:grpSpMkLst>
        </pc:grpChg>
      </pc:sldChg>
    </pc:docChg>
  </pc:docChgLst>
  <pc:docChgLst>
    <pc:chgData name="Jason Madden" userId="bc5fc663-4acf-4c70-beae-e4d4354e4ea1" providerId="ADAL" clId="{9242D02F-3850-469A-9E84-08401F66F885}"/>
    <pc:docChg chg="undo custSel addSld delSld modSld replTag">
      <pc:chgData name="Jason Madden" userId="bc5fc663-4acf-4c70-beae-e4d4354e4ea1" providerId="ADAL" clId="{9242D02F-3850-469A-9E84-08401F66F885}" dt="2022-11-23T03:45:09.317" v="12791" actId="47"/>
      <pc:docMkLst>
        <pc:docMk/>
      </pc:docMkLst>
      <pc:sldChg chg="delSp modSp mod delCm">
        <pc:chgData name="Jason Madden" userId="bc5fc663-4acf-4c70-beae-e4d4354e4ea1" providerId="ADAL" clId="{9242D02F-3850-469A-9E84-08401F66F885}" dt="2022-11-22T21:53:06.904" v="502" actId="478"/>
        <pc:sldMkLst>
          <pc:docMk/>
          <pc:sldMk cId="2525408289" sldId="2147470749"/>
        </pc:sldMkLst>
        <pc:spChg chg="del mod">
          <ac:chgData name="Jason Madden" userId="bc5fc663-4acf-4c70-beae-e4d4354e4ea1" providerId="ADAL" clId="{9242D02F-3850-469A-9E84-08401F66F885}" dt="2022-11-22T21:53:06.904" v="502" actId="478"/>
          <ac:spMkLst>
            <pc:docMk/>
            <pc:sldMk cId="2525408289" sldId="2147470749"/>
            <ac:spMk id="5" creationId="{2DEF0F0F-C2D3-6B70-92BE-19445AC9D95F}"/>
          </ac:spMkLst>
        </pc:spChg>
        <pc:graphicFrameChg chg="mod modGraphic">
          <ac:chgData name="Jason Madden" userId="bc5fc663-4acf-4c70-beae-e4d4354e4ea1" providerId="ADAL" clId="{9242D02F-3850-469A-9E84-08401F66F885}" dt="2022-11-22T21:53:02.812" v="501" actId="207"/>
          <ac:graphicFrameMkLst>
            <pc:docMk/>
            <pc:sldMk cId="2525408289" sldId="2147470749"/>
            <ac:graphicFrameMk id="4" creationId="{3575BDD3-D555-F2DD-02C0-68055EF6765C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2T22:54:05.529" v="1335" actId="478"/>
        <pc:sldMkLst>
          <pc:docMk/>
          <pc:sldMk cId="523823575" sldId="2147470774"/>
        </pc:sldMkLst>
        <pc:spChg chg="add del mod">
          <ac:chgData name="Jason Madden" userId="bc5fc663-4acf-4c70-beae-e4d4354e4ea1" providerId="ADAL" clId="{9242D02F-3850-469A-9E84-08401F66F885}" dt="2022-11-22T22:54:05.529" v="1335" actId="478"/>
          <ac:spMkLst>
            <pc:docMk/>
            <pc:sldMk cId="523823575" sldId="2147470774"/>
            <ac:spMk id="5" creationId="{8720A495-30F2-79C5-1EF5-D29C18BFC2CB}"/>
          </ac:spMkLst>
        </pc:spChg>
      </pc:sldChg>
      <pc:sldChg chg="addSp delSp modSp mod">
        <pc:chgData name="Jason Madden" userId="bc5fc663-4acf-4c70-beae-e4d4354e4ea1" providerId="ADAL" clId="{9242D02F-3850-469A-9E84-08401F66F885}" dt="2022-11-22T22:54:02.574" v="1334" actId="478"/>
        <pc:sldMkLst>
          <pc:docMk/>
          <pc:sldMk cId="2688572831" sldId="2147470790"/>
        </pc:sldMkLst>
        <pc:spChg chg="add del mod">
          <ac:chgData name="Jason Madden" userId="bc5fc663-4acf-4c70-beae-e4d4354e4ea1" providerId="ADAL" clId="{9242D02F-3850-469A-9E84-08401F66F885}" dt="2022-11-22T22:54:02.574" v="1334" actId="478"/>
          <ac:spMkLst>
            <pc:docMk/>
            <pc:sldMk cId="2688572831" sldId="2147470790"/>
            <ac:spMk id="8" creationId="{92B2DCB1-20F6-D3E2-E09D-9D7AFB33174A}"/>
          </ac:spMkLst>
        </pc:spChg>
      </pc:sldChg>
      <pc:sldChg chg="addSp delSp modSp mod delCm">
        <pc:chgData name="Jason Madden" userId="bc5fc663-4acf-4c70-beae-e4d4354e4ea1" providerId="ADAL" clId="{9242D02F-3850-469A-9E84-08401F66F885}" dt="2022-11-22T21:51:49.325" v="460" actId="1592"/>
        <pc:sldMkLst>
          <pc:docMk/>
          <pc:sldMk cId="4035091018" sldId="2147470936"/>
        </pc:sldMkLst>
        <pc:spChg chg="mod ord">
          <ac:chgData name="Jason Madden" userId="bc5fc663-4acf-4c70-beae-e4d4354e4ea1" providerId="ADAL" clId="{9242D02F-3850-469A-9E84-08401F66F885}" dt="2022-11-22T21:51:08.586" v="386"/>
          <ac:spMkLst>
            <pc:docMk/>
            <pc:sldMk cId="4035091018" sldId="2147470936"/>
            <ac:spMk id="2" creationId="{21CD935B-D573-4C7E-9409-9079BA8F007B}"/>
          </ac:spMkLst>
        </pc:spChg>
        <pc:spChg chg="mod ord">
          <ac:chgData name="Jason Madden" userId="bc5fc663-4acf-4c70-beae-e4d4354e4ea1" providerId="ADAL" clId="{9242D02F-3850-469A-9E84-08401F66F885}" dt="2022-11-22T21:51:08.602" v="419"/>
          <ac:spMkLst>
            <pc:docMk/>
            <pc:sldMk cId="4035091018" sldId="2147470936"/>
            <ac:spMk id="3" creationId="{7943B992-6791-1FFA-8AC6-8BB48C00EF44}"/>
          </ac:spMkLst>
        </pc:spChg>
        <pc:spChg chg="del mod ord">
          <ac:chgData name="Jason Madden" userId="bc5fc663-4acf-4c70-beae-e4d4354e4ea1" providerId="ADAL" clId="{9242D02F-3850-469A-9E84-08401F66F885}" dt="2022-11-22T21:51:42.024" v="459" actId="478"/>
          <ac:spMkLst>
            <pc:docMk/>
            <pc:sldMk cId="4035091018" sldId="2147470936"/>
            <ac:spMk id="5" creationId="{4F1F11A0-4EAD-9132-327E-CEB23F76E0C3}"/>
          </ac:spMkLst>
        </pc:spChg>
        <pc:spChg chg="mod">
          <ac:chgData name="Jason Madden" userId="bc5fc663-4acf-4c70-beae-e4d4354e4ea1" providerId="ADAL" clId="{9242D02F-3850-469A-9E84-08401F66F885}" dt="2022-11-22T21:51:08.597" v="406"/>
          <ac:spMkLst>
            <pc:docMk/>
            <pc:sldMk cId="4035091018" sldId="2147470936"/>
            <ac:spMk id="6" creationId="{C097A9BF-EEA3-46D0-858D-66005C4F7973}"/>
          </ac:spMkLst>
        </pc:spChg>
        <pc:spChg chg="add del mod modVis">
          <ac:chgData name="Jason Madden" userId="bc5fc663-4acf-4c70-beae-e4d4354e4ea1" providerId="ADAL" clId="{9242D02F-3850-469A-9E84-08401F66F885}" dt="2022-11-22T21:51:06.988" v="358"/>
          <ac:spMkLst>
            <pc:docMk/>
            <pc:sldMk cId="4035091018" sldId="2147470936"/>
            <ac:spMk id="7" creationId="{76509808-3E7A-474B-D8FD-0106C4207183}"/>
          </ac:spMkLst>
        </pc:spChg>
        <pc:spChg chg="mod">
          <ac:chgData name="Jason Madden" userId="bc5fc663-4acf-4c70-beae-e4d4354e4ea1" providerId="ADAL" clId="{9242D02F-3850-469A-9E84-08401F66F885}" dt="2022-11-22T21:51:08.594" v="402"/>
          <ac:spMkLst>
            <pc:docMk/>
            <pc:sldMk cId="4035091018" sldId="2147470936"/>
            <ac:spMk id="8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599" v="411"/>
          <ac:spMkLst>
            <pc:docMk/>
            <pc:sldMk cId="4035091018" sldId="2147470936"/>
            <ac:spMk id="9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588" v="390"/>
          <ac:spMkLst>
            <pc:docMk/>
            <pc:sldMk cId="4035091018" sldId="2147470936"/>
            <ac:spMk id="10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589" v="391"/>
          <ac:spMkLst>
            <pc:docMk/>
            <pc:sldMk cId="4035091018" sldId="2147470936"/>
            <ac:spMk id="11" creationId="{C097A9BF-EEA3-46D0-858D-66005C4F7973}"/>
          </ac:spMkLst>
        </pc:spChg>
        <pc:spChg chg="del mod">
          <ac:chgData name="Jason Madden" userId="bc5fc663-4acf-4c70-beae-e4d4354e4ea1" providerId="ADAL" clId="{9242D02F-3850-469A-9E84-08401F66F885}" dt="2022-11-22T21:51:06.761" v="89"/>
          <ac:spMkLst>
            <pc:docMk/>
            <pc:sldMk cId="4035091018" sldId="2147470936"/>
            <ac:spMk id="12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601" v="415"/>
          <ac:spMkLst>
            <pc:docMk/>
            <pc:sldMk cId="4035091018" sldId="2147470936"/>
            <ac:spMk id="13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601" v="416"/>
          <ac:spMkLst>
            <pc:docMk/>
            <pc:sldMk cId="4035091018" sldId="2147470936"/>
            <ac:spMk id="14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595" v="403"/>
          <ac:spMkLst>
            <pc:docMk/>
            <pc:sldMk cId="4035091018" sldId="2147470936"/>
            <ac:spMk id="15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600" v="414"/>
          <ac:spMkLst>
            <pc:docMk/>
            <pc:sldMk cId="4035091018" sldId="2147470936"/>
            <ac:spMk id="19" creationId="{BA21AE25-8E7E-475F-B97B-69D36A3B5D23}"/>
          </ac:spMkLst>
        </pc:spChg>
        <pc:spChg chg="mod">
          <ac:chgData name="Jason Madden" userId="bc5fc663-4acf-4c70-beae-e4d4354e4ea1" providerId="ADAL" clId="{9242D02F-3850-469A-9E84-08401F66F885}" dt="2022-11-22T21:51:08.590" v="392"/>
          <ac:spMkLst>
            <pc:docMk/>
            <pc:sldMk cId="4035091018" sldId="2147470936"/>
            <ac:spMk id="20" creationId="{71D40FF2-CD26-4208-80D9-BDF0766AB575}"/>
          </ac:spMkLst>
        </pc:spChg>
        <pc:spChg chg="mod">
          <ac:chgData name="Jason Madden" userId="bc5fc663-4acf-4c70-beae-e4d4354e4ea1" providerId="ADAL" clId="{9242D02F-3850-469A-9E84-08401F66F885}" dt="2022-11-22T21:51:08.602" v="417"/>
          <ac:spMkLst>
            <pc:docMk/>
            <pc:sldMk cId="4035091018" sldId="2147470936"/>
            <ac:spMk id="21" creationId="{E6AAF444-79DC-4212-BF95-5FFAD5DE2FF3}"/>
          </ac:spMkLst>
        </pc:spChg>
        <pc:spChg chg="mod ord">
          <ac:chgData name="Jason Madden" userId="bc5fc663-4acf-4c70-beae-e4d4354e4ea1" providerId="ADAL" clId="{9242D02F-3850-469A-9E84-08401F66F885}" dt="2022-11-22T21:51:08.592" v="400"/>
          <ac:spMkLst>
            <pc:docMk/>
            <pc:sldMk cId="4035091018" sldId="2147470936"/>
            <ac:spMk id="39" creationId="{5A36C4B5-B25D-4097-A8FA-C3548F1AE469}"/>
          </ac:spMkLst>
        </pc:spChg>
        <pc:spChg chg="mod ord">
          <ac:chgData name="Jason Madden" userId="bc5fc663-4acf-4c70-beae-e4d4354e4ea1" providerId="ADAL" clId="{9242D02F-3850-469A-9E84-08401F66F885}" dt="2022-11-22T21:51:08.599" v="413"/>
          <ac:spMkLst>
            <pc:docMk/>
            <pc:sldMk cId="4035091018" sldId="2147470936"/>
            <ac:spMk id="49" creationId="{C097A9BF-EEA3-46D0-858D-66005C4F7973}"/>
          </ac:spMkLst>
        </pc:spChg>
        <pc:spChg chg="mod ord">
          <ac:chgData name="Jason Madden" userId="bc5fc663-4acf-4c70-beae-e4d4354e4ea1" providerId="ADAL" clId="{9242D02F-3850-469A-9E84-08401F66F885}" dt="2022-11-22T21:51:08.598" v="410"/>
          <ac:spMkLst>
            <pc:docMk/>
            <pc:sldMk cId="4035091018" sldId="2147470936"/>
            <ac:spMk id="51" creationId="{C097A9BF-EEA3-46D0-858D-66005C4F7973}"/>
          </ac:spMkLst>
        </pc:spChg>
        <pc:spChg chg="mod">
          <ac:chgData name="Jason Madden" userId="bc5fc663-4acf-4c70-beae-e4d4354e4ea1" providerId="ADAL" clId="{9242D02F-3850-469A-9E84-08401F66F885}" dt="2022-11-22T21:51:08.586" v="387"/>
          <ac:spMkLst>
            <pc:docMk/>
            <pc:sldMk cId="4035091018" sldId="2147470936"/>
            <ac:spMk id="56" creationId="{D860D2D3-9F59-48F0-A32E-6EC28247DF52}"/>
          </ac:spMkLst>
        </pc:spChg>
        <pc:spChg chg="mod">
          <ac:chgData name="Jason Madden" userId="bc5fc663-4acf-4c70-beae-e4d4354e4ea1" providerId="ADAL" clId="{9242D02F-3850-469A-9E84-08401F66F885}" dt="2022-11-22T21:51:08.587" v="388"/>
          <ac:spMkLst>
            <pc:docMk/>
            <pc:sldMk cId="4035091018" sldId="2147470936"/>
            <ac:spMk id="57" creationId="{7B2F9D6D-BE94-49A6-8A50-B631BACEF265}"/>
          </ac:spMkLst>
        </pc:spChg>
        <pc:spChg chg="del">
          <ac:chgData name="Jason Madden" userId="bc5fc663-4acf-4c70-beae-e4d4354e4ea1" providerId="ADAL" clId="{9242D02F-3850-469A-9E84-08401F66F885}" dt="2022-11-22T21:51:06.761" v="88"/>
          <ac:spMkLst>
            <pc:docMk/>
            <pc:sldMk cId="4035091018" sldId="2147470936"/>
            <ac:spMk id="58" creationId="{EA3AD23D-F8EF-41B4-BAC8-370FFB724F29}"/>
          </ac:spMkLst>
        </pc:spChg>
        <pc:spChg chg="mod">
          <ac:chgData name="Jason Madden" userId="bc5fc663-4acf-4c70-beae-e4d4354e4ea1" providerId="ADAL" clId="{9242D02F-3850-469A-9E84-08401F66F885}" dt="2022-11-22T21:51:08.588" v="389"/>
          <ac:spMkLst>
            <pc:docMk/>
            <pc:sldMk cId="4035091018" sldId="2147470936"/>
            <ac:spMk id="59" creationId="{7BD9EDC4-7DBE-43E3-86C0-C20C63CEDE58}"/>
          </ac:spMkLst>
        </pc:spChg>
        <pc:spChg chg="mod ord">
          <ac:chgData name="Jason Madden" userId="bc5fc663-4acf-4c70-beae-e4d4354e4ea1" providerId="ADAL" clId="{9242D02F-3850-469A-9E84-08401F66F885}" dt="2022-11-22T21:51:08.596" v="405"/>
          <ac:spMkLst>
            <pc:docMk/>
            <pc:sldMk cId="4035091018" sldId="2147470936"/>
            <ac:spMk id="70" creationId="{C097A9BF-EEA3-46D0-858D-66005C4F7973}"/>
          </ac:spMkLst>
        </pc:spChg>
        <pc:spChg chg="mod ord">
          <ac:chgData name="Jason Madden" userId="bc5fc663-4acf-4c70-beae-e4d4354e4ea1" providerId="ADAL" clId="{9242D02F-3850-469A-9E84-08401F66F885}" dt="2022-11-22T21:51:08.597" v="408"/>
          <ac:spMkLst>
            <pc:docMk/>
            <pc:sldMk cId="4035091018" sldId="2147470936"/>
            <ac:spMk id="72" creationId="{C097A9BF-EEA3-46D0-858D-66005C4F7973}"/>
          </ac:spMkLst>
        </pc:spChg>
        <pc:spChg chg="del mod">
          <ac:chgData name="Jason Madden" userId="bc5fc663-4acf-4c70-beae-e4d4354e4ea1" providerId="ADAL" clId="{9242D02F-3850-469A-9E84-08401F66F885}" dt="2022-11-22T21:51:06.631" v="4"/>
          <ac:spMkLst>
            <pc:docMk/>
            <pc:sldMk cId="4035091018" sldId="2147470936"/>
            <ac:spMk id="74" creationId="{C097A9BF-EEA3-46D0-858D-66005C4F7973}"/>
          </ac:spMkLst>
        </pc:spChg>
        <pc:spChg chg="mod ord">
          <ac:chgData name="Jason Madden" userId="bc5fc663-4acf-4c70-beae-e4d4354e4ea1" providerId="ADAL" clId="{9242D02F-3850-469A-9E84-08401F66F885}" dt="2022-11-22T21:51:08.590" v="394"/>
          <ac:spMkLst>
            <pc:docMk/>
            <pc:sldMk cId="4035091018" sldId="2147470936"/>
            <ac:spMk id="81" creationId="{E20B042D-4A16-4648-9607-3D79C36A5A4C}"/>
          </ac:spMkLst>
        </pc:spChg>
        <pc:spChg chg="mod ord">
          <ac:chgData name="Jason Madden" userId="bc5fc663-4acf-4c70-beae-e4d4354e4ea1" providerId="ADAL" clId="{9242D02F-3850-469A-9E84-08401F66F885}" dt="2022-11-22T21:51:37.656" v="458" actId="20577"/>
          <ac:spMkLst>
            <pc:docMk/>
            <pc:sldMk cId="4035091018" sldId="2147470936"/>
            <ac:spMk id="95" creationId="{5DF83CA9-A8FA-42A3-B238-FAAC30AB6834}"/>
          </ac:spMkLst>
        </pc:spChg>
        <pc:graphicFrameChg chg="mod">
          <ac:chgData name="Jason Madden" userId="bc5fc663-4acf-4c70-beae-e4d4354e4ea1" providerId="ADAL" clId="{9242D02F-3850-469A-9E84-08401F66F885}" dt="2022-11-22T21:51:08.617" v="425"/>
          <ac:graphicFrameMkLst>
            <pc:docMk/>
            <pc:sldMk cId="4035091018" sldId="2147470936"/>
            <ac:graphicFrameMk id="4" creationId="{8EE3AE51-3FE9-4861-8C65-AD023CF07E16}"/>
          </ac:graphicFrameMkLst>
        </pc:graphicFrameChg>
        <pc:graphicFrameChg chg="add del mod replST">
          <ac:chgData name="Jason Madden" userId="bc5fc663-4acf-4c70-beae-e4d4354e4ea1" providerId="ADAL" clId="{9242D02F-3850-469A-9E84-08401F66F885}" dt="2022-11-22T21:51:08.543" v="378"/>
          <ac:graphicFrameMkLst>
            <pc:docMk/>
            <pc:sldMk cId="4035091018" sldId="2147470936"/>
            <ac:graphicFrameMk id="16" creationId="{605434B2-4E09-2C52-D358-C86C0AED1ACB}"/>
          </ac:graphicFrameMkLst>
        </pc:graphicFrameChg>
        <pc:graphicFrameChg chg="add mod replST">
          <ac:chgData name="Jason Madden" userId="bc5fc663-4acf-4c70-beae-e4d4354e4ea1" providerId="ADAL" clId="{9242D02F-3850-469A-9E84-08401F66F885}" dt="2022-11-22T21:51:08.593" v="401"/>
          <ac:graphicFrameMkLst>
            <pc:docMk/>
            <pc:sldMk cId="4035091018" sldId="2147470936"/>
            <ac:graphicFrameMk id="17" creationId="{E7F78CDF-6F85-914D-EC79-4A6E317DCE09}"/>
          </ac:graphicFrameMkLst>
        </pc:graphicFrameChg>
        <pc:graphicFrameChg chg="del">
          <ac:chgData name="Jason Madden" userId="bc5fc663-4acf-4c70-beae-e4d4354e4ea1" providerId="ADAL" clId="{9242D02F-3850-469A-9E84-08401F66F885}" dt="2022-11-22T21:51:06.946" v="311"/>
          <ac:graphicFrameMkLst>
            <pc:docMk/>
            <pc:sldMk cId="4035091018" sldId="2147470936"/>
            <ac:graphicFrameMk id="44" creationId="{F2785810-7853-4395-8112-F0CBA4A032ED}"/>
          </ac:graphicFrameMkLst>
        </pc:graphicFrameChg>
        <pc:cxnChg chg="mod ord">
          <ac:chgData name="Jason Madden" userId="bc5fc663-4acf-4c70-beae-e4d4354e4ea1" providerId="ADAL" clId="{9242D02F-3850-469A-9E84-08401F66F885}" dt="2022-11-22T21:51:08.591" v="396"/>
          <ac:cxnSpMkLst>
            <pc:docMk/>
            <pc:sldMk cId="4035091018" sldId="2147470936"/>
            <ac:cxnSpMk id="84" creationId="{F3E9E579-6EF7-48C9-99E3-101E86E38931}"/>
          </ac:cxnSpMkLst>
        </pc:cxnChg>
      </pc:sldChg>
      <pc:sldChg chg="addSp delSp modSp mod">
        <pc:chgData name="Jason Madden" userId="bc5fc663-4acf-4c70-beae-e4d4354e4ea1" providerId="ADAL" clId="{9242D02F-3850-469A-9E84-08401F66F885}" dt="2022-11-22T22:51:21.130" v="1282" actId="478"/>
        <pc:sldMkLst>
          <pc:docMk/>
          <pc:sldMk cId="4250436242" sldId="2147471203"/>
        </pc:sldMkLst>
        <pc:spChg chg="add del mod">
          <ac:chgData name="Jason Madden" userId="bc5fc663-4acf-4c70-beae-e4d4354e4ea1" providerId="ADAL" clId="{9242D02F-3850-469A-9E84-08401F66F885}" dt="2022-11-22T22:51:21.130" v="1282" actId="478"/>
          <ac:spMkLst>
            <pc:docMk/>
            <pc:sldMk cId="4250436242" sldId="2147471203"/>
            <ac:spMk id="3" creationId="{1FE7466D-BAC9-D776-A94F-FC0C5965C9E2}"/>
          </ac:spMkLst>
        </pc:spChg>
        <pc:spChg chg="mod">
          <ac:chgData name="Jason Madden" userId="bc5fc663-4acf-4c70-beae-e4d4354e4ea1" providerId="ADAL" clId="{9242D02F-3850-469A-9E84-08401F66F885}" dt="2022-11-22T22:51:18.996" v="1281"/>
          <ac:spMkLst>
            <pc:docMk/>
            <pc:sldMk cId="4250436242" sldId="2147471203"/>
            <ac:spMk id="47" creationId="{B093F6EC-71D6-712A-AFB1-CF8960D955B5}"/>
          </ac:spMkLst>
        </pc:spChg>
      </pc:sldChg>
      <pc:sldChg chg="addSp delSp modSp mod">
        <pc:chgData name="Jason Madden" userId="bc5fc663-4acf-4c70-beae-e4d4354e4ea1" providerId="ADAL" clId="{9242D02F-3850-469A-9E84-08401F66F885}" dt="2022-11-22T22:54:00.848" v="1333" actId="478"/>
        <pc:sldMkLst>
          <pc:docMk/>
          <pc:sldMk cId="1049632595" sldId="2147471226"/>
        </pc:sldMkLst>
        <pc:spChg chg="mod">
          <ac:chgData name="Jason Madden" userId="bc5fc663-4acf-4c70-beae-e4d4354e4ea1" providerId="ADAL" clId="{9242D02F-3850-469A-9E84-08401F66F885}" dt="2022-11-22T22:53:57.694" v="1289" actId="948"/>
          <ac:spMkLst>
            <pc:docMk/>
            <pc:sldMk cId="1049632595" sldId="2147471226"/>
            <ac:spMk id="2" creationId="{59CD0EC3-D43D-0424-5AEE-547BF7145B03}"/>
          </ac:spMkLst>
        </pc:spChg>
        <pc:spChg chg="add del mod">
          <ac:chgData name="Jason Madden" userId="bc5fc663-4acf-4c70-beae-e4d4354e4ea1" providerId="ADAL" clId="{9242D02F-3850-469A-9E84-08401F66F885}" dt="2022-11-22T22:54:00.848" v="1333" actId="478"/>
          <ac:spMkLst>
            <pc:docMk/>
            <pc:sldMk cId="1049632595" sldId="2147471226"/>
            <ac:spMk id="3" creationId="{0EAF0B73-4D1F-727C-8FE7-29CB4696EEA8}"/>
          </ac:spMkLst>
        </pc:spChg>
        <pc:spChg chg="add del mod modVis">
          <ac:chgData name="Jason Madden" userId="bc5fc663-4acf-4c70-beae-e4d4354e4ea1" providerId="ADAL" clId="{9242D02F-3850-469A-9E84-08401F66F885}" dt="2022-11-22T22:53:57.748" v="1330"/>
          <ac:spMkLst>
            <pc:docMk/>
            <pc:sldMk cId="1049632595" sldId="2147471226"/>
            <ac:spMk id="8" creationId="{FF58D1ED-FEFE-2D7A-6722-1EBC6197E8EE}"/>
          </ac:spMkLst>
        </pc:spChg>
        <pc:graphicFrameChg chg="mod">
          <ac:chgData name="Jason Madden" userId="bc5fc663-4acf-4c70-beae-e4d4354e4ea1" providerId="ADAL" clId="{9242D02F-3850-469A-9E84-08401F66F885}" dt="2022-11-22T22:53:57.748" v="1332"/>
          <ac:graphicFrameMkLst>
            <pc:docMk/>
            <pc:sldMk cId="1049632595" sldId="2147471226"/>
            <ac:graphicFrameMk id="30" creationId="{CA26A779-60AE-2A57-5BE1-A0232B6523ED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2T22:54:53.513" v="1382"/>
        <pc:sldMkLst>
          <pc:docMk/>
          <pc:sldMk cId="2102163021" sldId="2147471229"/>
        </pc:sldMkLst>
        <pc:spChg chg="mod">
          <ac:chgData name="Jason Madden" userId="bc5fc663-4acf-4c70-beae-e4d4354e4ea1" providerId="ADAL" clId="{9242D02F-3850-469A-9E84-08401F66F885}" dt="2022-11-22T22:54:53.381" v="1339" actId="948"/>
          <ac:spMkLst>
            <pc:docMk/>
            <pc:sldMk cId="2102163021" sldId="2147471229"/>
            <ac:spMk id="2" creationId="{AB9554DF-599D-F287-7CDD-C37689E82DF4}"/>
          </ac:spMkLst>
        </pc:spChg>
        <pc:spChg chg="add del mod">
          <ac:chgData name="Jason Madden" userId="bc5fc663-4acf-4c70-beae-e4d4354e4ea1" providerId="ADAL" clId="{9242D02F-3850-469A-9E84-08401F66F885}" dt="2022-11-22T22:54:30.667" v="1336" actId="478"/>
          <ac:spMkLst>
            <pc:docMk/>
            <pc:sldMk cId="2102163021" sldId="2147471229"/>
            <ac:spMk id="3" creationId="{61657DED-ECA6-8720-1102-D9FBFE327516}"/>
          </ac:spMkLst>
        </pc:spChg>
        <pc:spChg chg="add 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7" creationId="{278FB9E2-750F-FB1C-1082-C49A55BFE3A8}"/>
          </ac:spMkLst>
        </pc:spChg>
        <pc:spChg chg="add 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9" creationId="{0823277D-A41F-FF32-1309-C7A061B97FCB}"/>
          </ac:spMkLst>
        </pc:spChg>
        <pc:spChg chg="del">
          <ac:chgData name="Jason Madden" userId="bc5fc663-4acf-4c70-beae-e4d4354e4ea1" providerId="ADAL" clId="{9242D02F-3850-469A-9E84-08401F66F885}" dt="2022-11-22T22:54:30.667" v="1336" actId="478"/>
          <ac:spMkLst>
            <pc:docMk/>
            <pc:sldMk cId="2102163021" sldId="2147471229"/>
            <ac:spMk id="11" creationId="{9931C4B1-7DEF-5E93-8460-9DF4BAECCA0C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2" creationId="{380DD96F-1CBC-DF8F-3AB4-56D61AC1F33A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3" creationId="{F451E726-DEE8-2167-6341-08CCF13E15BD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4" creationId="{6CCA45E2-0838-F8AE-8B22-E3A0E760660D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6" creationId="{8D26CC55-D5D9-18BE-8A0E-F87BBC254698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7" creationId="{F5261E71-EAF9-2D5E-2526-254781D12A88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8" creationId="{A93CC5F8-3500-15DA-E671-775F2DE56E42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19" creationId="{B232961E-7861-008F-E2A6-CA6CBD3BFC6F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20" creationId="{98E70E42-E7B8-7380-28B4-B3032E8E38DC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21" creationId="{82788833-9406-8BDB-D000-5A448D84613F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23" creationId="{CF686715-41B9-2F8F-7A79-CBC66E54AAF6}"/>
          </ac:spMkLst>
        </pc:spChg>
        <pc:spChg chg="del">
          <ac:chgData name="Jason Madden" userId="bc5fc663-4acf-4c70-beae-e4d4354e4ea1" providerId="ADAL" clId="{9242D02F-3850-469A-9E84-08401F66F885}" dt="2022-11-22T22:54:30.667" v="1336" actId="478"/>
          <ac:spMkLst>
            <pc:docMk/>
            <pc:sldMk cId="2102163021" sldId="2147471229"/>
            <ac:spMk id="24" creationId="{B4C009C1-83DD-2DC5-8984-4765EE344B0F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31" creationId="{DAB097BC-E45E-34C8-E214-F9EF0B735EA4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33" creationId="{291EE3EA-1AC6-BBDB-2A65-1DD410B039E3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46" creationId="{5A3E9D1F-A170-4D18-A71A-998AF73644C1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48" creationId="{86F2A04B-B495-83D3-C500-9AB5A561F8DB}"/>
          </ac:spMkLst>
        </pc:spChg>
        <pc:spChg chg="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49" creationId="{3E67C38E-C229-6232-4ED1-0718548825CD}"/>
          </ac:spMkLst>
        </pc:spChg>
        <pc:spChg chg="add mod">
          <ac:chgData name="Jason Madden" userId="bc5fc663-4acf-4c70-beae-e4d4354e4ea1" providerId="ADAL" clId="{9242D02F-3850-469A-9E84-08401F66F885}" dt="2022-11-22T22:54:41.254" v="1337"/>
          <ac:spMkLst>
            <pc:docMk/>
            <pc:sldMk cId="2102163021" sldId="2147471229"/>
            <ac:spMk id="50" creationId="{1D8168AF-18FF-EF1A-66BA-1E4E3915C5BD}"/>
          </ac:spMkLst>
        </pc:spChg>
        <pc:spChg chg="add del mod modVis">
          <ac:chgData name="Jason Madden" userId="bc5fc663-4acf-4c70-beae-e4d4354e4ea1" providerId="ADAL" clId="{9242D02F-3850-469A-9E84-08401F66F885}" dt="2022-11-22T22:54:53.513" v="1380"/>
          <ac:spMkLst>
            <pc:docMk/>
            <pc:sldMk cId="2102163021" sldId="2147471229"/>
            <ac:spMk id="51" creationId="{B2C9BA59-E989-99A6-FDD0-BD199BC4CFF8}"/>
          </ac:spMkLst>
        </pc:spChg>
        <pc:grpChg chg="add mod">
          <ac:chgData name="Jason Madden" userId="bc5fc663-4acf-4c70-beae-e4d4354e4ea1" providerId="ADAL" clId="{9242D02F-3850-469A-9E84-08401F66F885}" dt="2022-11-22T22:54:41.254" v="1337"/>
          <ac:grpSpMkLst>
            <pc:docMk/>
            <pc:sldMk cId="2102163021" sldId="2147471229"/>
            <ac:grpSpMk id="10" creationId="{F937EB1D-138B-6503-6288-994FC29CC6C4}"/>
          </ac:grpSpMkLst>
        </pc:grpChg>
        <pc:grpChg chg="add mod">
          <ac:chgData name="Jason Madden" userId="bc5fc663-4acf-4c70-beae-e4d4354e4ea1" providerId="ADAL" clId="{9242D02F-3850-469A-9E84-08401F66F885}" dt="2022-11-22T22:54:41.254" v="1337"/>
          <ac:grpSpMkLst>
            <pc:docMk/>
            <pc:sldMk cId="2102163021" sldId="2147471229"/>
            <ac:grpSpMk id="15" creationId="{C58F6200-4CE4-1763-1D5C-8A81812E3695}"/>
          </ac:grpSpMkLst>
        </pc:grpChg>
        <pc:grpChg chg="add mod">
          <ac:chgData name="Jason Madden" userId="bc5fc663-4acf-4c70-beae-e4d4354e4ea1" providerId="ADAL" clId="{9242D02F-3850-469A-9E84-08401F66F885}" dt="2022-11-22T22:54:41.254" v="1337"/>
          <ac:grpSpMkLst>
            <pc:docMk/>
            <pc:sldMk cId="2102163021" sldId="2147471229"/>
            <ac:grpSpMk id="22" creationId="{83DF4EB2-B411-F2CC-261B-F831519B45D4}"/>
          </ac:grpSpMkLst>
        </pc:grpChg>
        <pc:grpChg chg="del">
          <ac:chgData name="Jason Madden" userId="bc5fc663-4acf-4c70-beae-e4d4354e4ea1" providerId="ADAL" clId="{9242D02F-3850-469A-9E84-08401F66F885}" dt="2022-11-22T22:54:30.667" v="1336" actId="478"/>
          <ac:grpSpMkLst>
            <pc:docMk/>
            <pc:sldMk cId="2102163021" sldId="2147471229"/>
            <ac:grpSpMk id="25" creationId="{41BE5D33-2D46-033D-945E-BA304512738E}"/>
          </ac:grpSpMkLst>
        </pc:grpChg>
        <pc:grpChg chg="del">
          <ac:chgData name="Jason Madden" userId="bc5fc663-4acf-4c70-beae-e4d4354e4ea1" providerId="ADAL" clId="{9242D02F-3850-469A-9E84-08401F66F885}" dt="2022-11-22T22:54:30.667" v="1336" actId="478"/>
          <ac:grpSpMkLst>
            <pc:docMk/>
            <pc:sldMk cId="2102163021" sldId="2147471229"/>
            <ac:grpSpMk id="29" creationId="{55EF9C18-EA95-58B2-2B1D-48076DB5D5E2}"/>
          </ac:grpSpMkLst>
        </pc:grpChg>
        <pc:grpChg chg="del">
          <ac:chgData name="Jason Madden" userId="bc5fc663-4acf-4c70-beae-e4d4354e4ea1" providerId="ADAL" clId="{9242D02F-3850-469A-9E84-08401F66F885}" dt="2022-11-22T22:54:30.667" v="1336" actId="478"/>
          <ac:grpSpMkLst>
            <pc:docMk/>
            <pc:sldMk cId="2102163021" sldId="2147471229"/>
            <ac:grpSpMk id="38" creationId="{63BD7BF3-66C2-5403-BDE6-8F84CF96C5A0}"/>
          </ac:grpSpMkLst>
        </pc:grpChg>
        <pc:graphicFrameChg chg="add mod">
          <ac:chgData name="Jason Madden" userId="bc5fc663-4acf-4c70-beae-e4d4354e4ea1" providerId="ADAL" clId="{9242D02F-3850-469A-9E84-08401F66F885}" dt="2022-11-22T22:54:41.254" v="1337"/>
          <ac:graphicFrameMkLst>
            <pc:docMk/>
            <pc:sldMk cId="2102163021" sldId="2147471229"/>
            <ac:graphicFrameMk id="5" creationId="{2745DDAF-F12B-A65A-F7DE-8CB83DE46A29}"/>
          </ac:graphicFrameMkLst>
        </pc:graphicFrameChg>
        <pc:graphicFrameChg chg="del">
          <ac:chgData name="Jason Madden" userId="bc5fc663-4acf-4c70-beae-e4d4354e4ea1" providerId="ADAL" clId="{9242D02F-3850-469A-9E84-08401F66F885}" dt="2022-11-22T22:54:30.667" v="1336" actId="478"/>
          <ac:graphicFrameMkLst>
            <pc:docMk/>
            <pc:sldMk cId="2102163021" sldId="2147471229"/>
            <ac:graphicFrameMk id="6" creationId="{47CAD776-6591-A5D2-109F-DD542E2E42D0}"/>
          </ac:graphicFrameMkLst>
        </pc:graphicFrameChg>
        <pc:graphicFrameChg chg="mod">
          <ac:chgData name="Jason Madden" userId="bc5fc663-4acf-4c70-beae-e4d4354e4ea1" providerId="ADAL" clId="{9242D02F-3850-469A-9E84-08401F66F885}" dt="2022-11-22T22:54:53.513" v="1382"/>
          <ac:graphicFrameMkLst>
            <pc:docMk/>
            <pc:sldMk cId="2102163021" sldId="2147471229"/>
            <ac:graphicFrameMk id="8" creationId="{CB3E2F47-8CB6-A2F7-6C47-26C24DE9F9E7}"/>
          </ac:graphicFrameMkLst>
        </pc:graphicFrameChg>
        <pc:cxnChg chg="mod">
          <ac:chgData name="Jason Madden" userId="bc5fc663-4acf-4c70-beae-e4d4354e4ea1" providerId="ADAL" clId="{9242D02F-3850-469A-9E84-08401F66F885}" dt="2022-11-22T22:54:41.254" v="1337"/>
          <ac:cxnSpMkLst>
            <pc:docMk/>
            <pc:sldMk cId="2102163021" sldId="2147471229"/>
            <ac:cxnSpMk id="47" creationId="{74216D57-B484-5CAC-D162-AD8D2C69784B}"/>
          </ac:cxnSpMkLst>
        </pc:cxnChg>
      </pc:sldChg>
      <pc:sldChg chg="addSp delSp modSp del mod">
        <pc:chgData name="Jason Madden" userId="bc5fc663-4acf-4c70-beae-e4d4354e4ea1" providerId="ADAL" clId="{9242D02F-3850-469A-9E84-08401F66F885}" dt="2022-11-23T03:29:12.135" v="12717" actId="47"/>
        <pc:sldMkLst>
          <pc:docMk/>
          <pc:sldMk cId="653926362" sldId="2147471254"/>
        </pc:sldMkLst>
        <pc:spChg chg="del">
          <ac:chgData name="Jason Madden" userId="bc5fc663-4acf-4c70-beae-e4d4354e4ea1" providerId="ADAL" clId="{9242D02F-3850-469A-9E84-08401F66F885}" dt="2022-11-22T23:42:53.964" v="2111" actId="478"/>
          <ac:spMkLst>
            <pc:docMk/>
            <pc:sldMk cId="653926362" sldId="2147471254"/>
            <ac:spMk id="3" creationId="{250EE2F9-13D1-9497-F98A-C1B91205E4DA}"/>
          </ac:spMkLst>
        </pc:spChg>
        <pc:spChg chg="add mod">
          <ac:chgData name="Jason Madden" userId="bc5fc663-4acf-4c70-beae-e4d4354e4ea1" providerId="ADAL" clId="{9242D02F-3850-469A-9E84-08401F66F885}" dt="2022-11-22T23:42:48.766" v="2110"/>
          <ac:spMkLst>
            <pc:docMk/>
            <pc:sldMk cId="653926362" sldId="2147471254"/>
            <ac:spMk id="9" creationId="{5462A4C0-1F60-7C17-6CE9-058D65A5C08A}"/>
          </ac:spMkLst>
        </pc:spChg>
        <pc:picChg chg="del">
          <ac:chgData name="Jason Madden" userId="bc5fc663-4acf-4c70-beae-e4d4354e4ea1" providerId="ADAL" clId="{9242D02F-3850-469A-9E84-08401F66F885}" dt="2022-11-22T23:40:30.006" v="1809" actId="478"/>
          <ac:picMkLst>
            <pc:docMk/>
            <pc:sldMk cId="653926362" sldId="2147471254"/>
            <ac:picMk id="8" creationId="{0EBE8586-8FEE-C865-87B5-00F1FEE1D7F4}"/>
          </ac:picMkLst>
        </pc:picChg>
      </pc:sldChg>
      <pc:sldChg chg="addSp delSp modSp mod">
        <pc:chgData name="Jason Madden" userId="bc5fc663-4acf-4c70-beae-e4d4354e4ea1" providerId="ADAL" clId="{9242D02F-3850-469A-9E84-08401F66F885}" dt="2022-11-22T22:52:38.773" v="1287"/>
        <pc:sldMkLst>
          <pc:docMk/>
          <pc:sldMk cId="2334799513" sldId="2147471261"/>
        </pc:sldMkLst>
        <pc:spChg chg="add del mod">
          <ac:chgData name="Jason Madden" userId="bc5fc663-4acf-4c70-beae-e4d4354e4ea1" providerId="ADAL" clId="{9242D02F-3850-469A-9E84-08401F66F885}" dt="2022-11-22T22:52:32.992" v="1286" actId="478"/>
          <ac:spMkLst>
            <pc:docMk/>
            <pc:sldMk cId="2334799513" sldId="2147471261"/>
            <ac:spMk id="2" creationId="{3715DFCA-0DDB-6309-8C99-E65636EFBDDC}"/>
          </ac:spMkLst>
        </pc:spChg>
        <pc:spChg chg="add mod">
          <ac:chgData name="Jason Madden" userId="bc5fc663-4acf-4c70-beae-e4d4354e4ea1" providerId="ADAL" clId="{9242D02F-3850-469A-9E84-08401F66F885}" dt="2022-11-22T22:52:38.773" v="1287"/>
          <ac:spMkLst>
            <pc:docMk/>
            <pc:sldMk cId="2334799513" sldId="2147471261"/>
            <ac:spMk id="5" creationId="{D8FEB629-3E0D-90E6-BA20-5810A82BE989}"/>
          </ac:spMkLst>
        </pc:spChg>
        <pc:spChg chg="add mod">
          <ac:chgData name="Jason Madden" userId="bc5fc663-4acf-4c70-beae-e4d4354e4ea1" providerId="ADAL" clId="{9242D02F-3850-469A-9E84-08401F66F885}" dt="2022-11-22T22:52:38.773" v="1287"/>
          <ac:spMkLst>
            <pc:docMk/>
            <pc:sldMk cId="2334799513" sldId="2147471261"/>
            <ac:spMk id="7" creationId="{3B9AE8EA-E49B-31D0-FB3A-321381C06278}"/>
          </ac:spMkLst>
        </pc:spChg>
        <pc:spChg chg="add mod">
          <ac:chgData name="Jason Madden" userId="bc5fc663-4acf-4c70-beae-e4d4354e4ea1" providerId="ADAL" clId="{9242D02F-3850-469A-9E84-08401F66F885}" dt="2022-11-22T22:52:38.773" v="1287"/>
          <ac:spMkLst>
            <pc:docMk/>
            <pc:sldMk cId="2334799513" sldId="2147471261"/>
            <ac:spMk id="8" creationId="{3724F0FA-B65A-4FC2-70C8-20088FD1A5D5}"/>
          </ac:spMkLst>
        </pc:spChg>
        <pc:spChg chg="add mod">
          <ac:chgData name="Jason Madden" userId="bc5fc663-4acf-4c70-beae-e4d4354e4ea1" providerId="ADAL" clId="{9242D02F-3850-469A-9E84-08401F66F885}" dt="2022-11-22T22:52:38.773" v="1287"/>
          <ac:spMkLst>
            <pc:docMk/>
            <pc:sldMk cId="2334799513" sldId="2147471261"/>
            <ac:spMk id="9" creationId="{1FE35E34-DB2A-EB1B-8AC1-43833E9F68D1}"/>
          </ac:spMkLst>
        </pc:spChg>
        <pc:spChg chg="del">
          <ac:chgData name="Jason Madden" userId="bc5fc663-4acf-4c70-beae-e4d4354e4ea1" providerId="ADAL" clId="{9242D02F-3850-469A-9E84-08401F66F885}" dt="2022-11-22T22:52:32.992" v="1286" actId="478"/>
          <ac:spMkLst>
            <pc:docMk/>
            <pc:sldMk cId="2334799513" sldId="2147471261"/>
            <ac:spMk id="20" creationId="{AE176FB8-D477-5EBB-E178-9B53B81CB596}"/>
          </ac:spMkLst>
        </pc:spChg>
        <pc:spChg chg="del">
          <ac:chgData name="Jason Madden" userId="bc5fc663-4acf-4c70-beae-e4d4354e4ea1" providerId="ADAL" clId="{9242D02F-3850-469A-9E84-08401F66F885}" dt="2022-11-22T22:52:32.992" v="1286" actId="478"/>
          <ac:spMkLst>
            <pc:docMk/>
            <pc:sldMk cId="2334799513" sldId="2147471261"/>
            <ac:spMk id="23" creationId="{F6146800-5ECC-7224-C179-B3DE253CCE34}"/>
          </ac:spMkLst>
        </pc:spChg>
        <pc:spChg chg="del">
          <ac:chgData name="Jason Madden" userId="bc5fc663-4acf-4c70-beae-e4d4354e4ea1" providerId="ADAL" clId="{9242D02F-3850-469A-9E84-08401F66F885}" dt="2022-11-22T22:52:32.992" v="1286" actId="478"/>
          <ac:spMkLst>
            <pc:docMk/>
            <pc:sldMk cId="2334799513" sldId="2147471261"/>
            <ac:spMk id="25" creationId="{EC362D57-E1A8-9681-EBDD-454CAAF58CEC}"/>
          </ac:spMkLst>
        </pc:spChg>
        <pc:spChg chg="del">
          <ac:chgData name="Jason Madden" userId="bc5fc663-4acf-4c70-beae-e4d4354e4ea1" providerId="ADAL" clId="{9242D02F-3850-469A-9E84-08401F66F885}" dt="2022-11-22T22:52:32.992" v="1286" actId="478"/>
          <ac:spMkLst>
            <pc:docMk/>
            <pc:sldMk cId="2334799513" sldId="2147471261"/>
            <ac:spMk id="27" creationId="{AE2FEBF1-91AF-D4F7-6E44-E8934AED6A56}"/>
          </ac:spMkLst>
        </pc:spChg>
      </pc:sldChg>
      <pc:sldChg chg="addSp delSp modSp mod">
        <pc:chgData name="Jason Madden" userId="bc5fc663-4acf-4c70-beae-e4d4354e4ea1" providerId="ADAL" clId="{9242D02F-3850-469A-9E84-08401F66F885}" dt="2022-11-22T22:51:02.449" v="1280"/>
        <pc:sldMkLst>
          <pc:docMk/>
          <pc:sldMk cId="1746672654" sldId="2147471265"/>
        </pc:sldMkLst>
        <pc:spChg chg="add del mod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2" creationId="{9E61B611-C671-E85B-C07F-C9A4FDE0123F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3" creationId="{B7F5D333-E44B-1CDF-3258-15155D99A351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" creationId="{715C50BC-7556-3EAE-FF8F-A78F0F49154C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5" creationId="{15B1ADC0-C5B3-5E89-49A5-BFEE8DCBDF59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9" creationId="{3E1DFA0B-1A0A-E928-74E3-EBDEA071B8B8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10" creationId="{7A5E690A-95D9-57BA-AD92-95E94C1CB046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12" creationId="{9EC65BC6-22BE-A2BC-C474-0C38E2B7E28E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13" creationId="{D04980AE-59F0-39E8-63B8-F134A709371C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15" creationId="{AFB64A47-4823-77CB-98E9-E9BCD1D964F8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16" creationId="{86998BB2-1873-2123-BC55-66B2868AA3E1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17" creationId="{7844F8C0-F6B9-BD21-0870-677AC0985E7F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18" creationId="{564D4A1A-3ACB-13B1-DC13-97E04264350F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19" creationId="{6775FBE0-673A-750D-88E4-75797C782844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22" creationId="{8705B167-6744-0CC6-1143-A142C9D3A15A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23" creationId="{42226022-0A22-941A-F66C-22BDF170DF36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24" creationId="{83D34E41-CD1D-E160-1D94-C8DA684C312F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25" creationId="{43A8E974-49B3-95B2-8BB3-DC56756E1607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27" creationId="{CFC4E29B-7C57-12AF-4457-1CDD43F91169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28" creationId="{C10EF912-E229-CDAB-4B29-DFA22B12B132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29" creationId="{3FAEB640-E01B-BEAD-C520-BD88126C0925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0" creationId="{B1C9BD69-4942-5A14-DFC8-F668ECC89293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1" creationId="{60859E17-18B7-3B3D-B8DC-ABC15CC3EFF8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2" creationId="{0C1A0B17-EA8E-3EEB-038A-848FF45CDA7C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3" creationId="{18208F7C-CCB7-FCC3-0CDE-CB481F0E744A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4" creationId="{A994610F-19B7-56BF-509F-14A9654A2C1F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5" creationId="{CF5BFE95-E3CF-5A50-DFF5-F921F2896069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6" creationId="{81B0FE48-568E-D891-9DE3-6A26BDF0B74A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37" creationId="{9AB17BF2-E781-FAB3-4234-96AEC2848DF5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1" creationId="{744B0EAF-BE22-3699-63B7-8B72D048C363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2" creationId="{557FB32D-DB6B-F7B2-5C40-6A8AE1ECB90D}"/>
          </ac:spMkLst>
        </pc:spChg>
        <pc:spChg chg="del">
          <ac:chgData name="Jason Madden" userId="bc5fc663-4acf-4c70-beae-e4d4354e4ea1" providerId="ADAL" clId="{9242D02F-3850-469A-9E84-08401F66F885}" dt="2022-11-22T22:51:02.048" v="1279" actId="478"/>
          <ac:spMkLst>
            <pc:docMk/>
            <pc:sldMk cId="1746672654" sldId="2147471265"/>
            <ac:spMk id="43" creationId="{4ED7E2EE-7655-DC59-6A56-9C49E0D5D01C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4" creationId="{CBB77280-2E87-1983-8B39-60389CD388D7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5" creationId="{83063B44-BF7F-5616-68E6-DB0F397C2997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6" creationId="{022E0F15-90D8-68B4-33C2-F163656EFCC5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7" creationId="{8B5F67BC-1B23-A587-99DA-8E690E3BA4B4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8" creationId="{09C08D9E-8F7A-F2DE-4EEE-1B3BD9B57A63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49" creationId="{264904B3-257B-F0FE-3FE5-BCAF8733381D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50" creationId="{A7F70BA5-90D8-D18C-E568-78E7E5C87D4A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51" creationId="{C081B46E-05F5-EC7C-5E30-BAA386EC48DB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55" creationId="{C72EF4FF-4535-55BA-3F14-CFB1260392E2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56" creationId="{9DC5A34B-D471-997A-DD56-084F448D738D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57" creationId="{0905E34D-695F-6A60-6C10-AB5AC13846BC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61" creationId="{47249C1C-F786-77FE-3CAA-F329892D7AA3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62" creationId="{9C2F85FF-8DDB-6464-1DBC-CC8D7430259A}"/>
          </ac:spMkLst>
        </pc:spChg>
        <pc:spChg chg="del">
          <ac:chgData name="Jason Madden" userId="bc5fc663-4acf-4c70-beae-e4d4354e4ea1" providerId="ADAL" clId="{9242D02F-3850-469A-9E84-08401F66F885}" dt="2022-11-22T22:50:58.607" v="1276" actId="478"/>
          <ac:spMkLst>
            <pc:docMk/>
            <pc:sldMk cId="1746672654" sldId="2147471265"/>
            <ac:spMk id="63" creationId="{659BFD90-D402-2DC6-1904-AD60D1738CCB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64" creationId="{889F9B4F-C995-B874-C5DD-49E53DA308C4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65" creationId="{49B77AF3-2F91-96B6-17F1-30044AE4CD76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70" creationId="{9A2C87FB-6037-241B-8747-ABBC765C0818}"/>
          </ac:spMkLst>
        </pc:spChg>
        <pc:spChg chg="add del mod">
          <ac:chgData name="Jason Madden" userId="bc5fc663-4acf-4c70-beae-e4d4354e4ea1" providerId="ADAL" clId="{9242D02F-3850-469A-9E84-08401F66F885}" dt="2022-11-22T22:50:59.826" v="1278"/>
          <ac:spMkLst>
            <pc:docMk/>
            <pc:sldMk cId="1746672654" sldId="2147471265"/>
            <ac:spMk id="72" creationId="{78F8569F-A0C9-05F1-6330-1A06228BBD85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3" creationId="{83F634AF-0AEA-A060-34B3-7E20201D00DB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4" creationId="{FDD1CBD1-1305-CDFE-C30B-C8AB7E90E28E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5" creationId="{E3C67FE4-0982-4F0E-093E-F22CC7FBD639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6" creationId="{4EA36AEA-1219-4289-F8AB-8AE5AAC324EA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7" creationId="{6F259111-0409-3627-BCDD-8C4DF9DE3A50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8" creationId="{D711BD37-C057-967A-1D01-934D43174F8F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79" creationId="{8B1FA98E-A580-9D3D-7258-2432E155C1ED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1" creationId="{A14BAEBB-E037-C9DD-3E28-E2E44D246775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2" creationId="{55D2BCF9-C891-CA48-92E4-90AD9B70C71B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4" creationId="{113E8958-E21D-A0EF-9B31-065B9348AE05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5" creationId="{606600D4-7758-53DF-6EE9-DE9B44F6FCC2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6" creationId="{E9851FC6-0704-E0D5-2F27-5924EA51CF01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7" creationId="{E0EC5E38-34D8-4D0E-2385-F4A91FF9191A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8" creationId="{0AFF6E48-8C9F-ADD2-4522-ABA263D5CD7F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89" creationId="{9ABA9565-D5F0-9384-8907-AD580512018E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90" creationId="{D717AEB9-4ACE-7902-A60B-B22FC1564A9A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91" creationId="{5AB516C4-62F0-D1CF-3F63-2B6B7E0FB491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92" creationId="{5F25D701-AB26-CC5D-0FD2-D0146B78945A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93" creationId="{A594C85C-F206-0B07-2012-B53CACADF130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96" creationId="{2F73CCC9-5C38-5066-D2EE-FD4F34382B52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97" creationId="{A1BC7E88-E09D-8E49-A13F-4313A1D88C95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100" creationId="{8DFA255A-A906-DB49-45BA-AEA84B88CE81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101" creationId="{CF0F78EC-09DD-4C38-42C2-0741A1EDF7CF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102" creationId="{FAEB3758-88D4-B638-A1D4-876EC96A3F5E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103" creationId="{1DE5ED4D-1A54-CF04-B68F-FE1E45997419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108" creationId="{E000B7DD-93CB-8FD1-1512-62DE6094EBC6}"/>
          </ac:spMkLst>
        </pc:spChg>
        <pc:spChg chg="add mod">
          <ac:chgData name="Jason Madden" userId="bc5fc663-4acf-4c70-beae-e4d4354e4ea1" providerId="ADAL" clId="{9242D02F-3850-469A-9E84-08401F66F885}" dt="2022-11-22T22:51:02.449" v="1280"/>
          <ac:spMkLst>
            <pc:docMk/>
            <pc:sldMk cId="1746672654" sldId="2147471265"/>
            <ac:spMk id="110" creationId="{B40B3367-86A8-2450-B782-43DCEB52D7DC}"/>
          </ac:spMkLst>
        </pc:spChg>
        <pc:cxnChg chg="del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11" creationId="{7E63F56D-2CC8-9D30-76D1-D5F8443C5B9B}"/>
          </ac:cxnSpMkLst>
        </pc:cxnChg>
        <pc:cxnChg chg="del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14" creationId="{E870F073-0C37-3295-DA28-F6577E748B63}"/>
          </ac:cxnSpMkLst>
        </pc:cxnChg>
        <pc:cxnChg chg="del mod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20" creationId="{550FBEA5-4BD3-CBBC-7B18-0CBED6908D31}"/>
          </ac:cxnSpMkLst>
        </pc:cxnChg>
        <pc:cxnChg chg="del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21" creationId="{A1FC53F6-906D-4BFB-E26C-F8781999D04B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26" creationId="{543C9329-4B6D-37A9-4388-F4212C8E65FA}"/>
          </ac:cxnSpMkLst>
        </pc:cxnChg>
        <pc:cxnChg chg="del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38" creationId="{90A7FEAC-4F8B-CAA4-93AC-4DDBD0882B94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39" creationId="{A9B4DCF2-ABF0-F06A-C9A4-C51AAFA63F99}"/>
          </ac:cxnSpMkLst>
        </pc:cxnChg>
        <pc:cxnChg chg="del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40" creationId="{FC0E7039-42B4-BD85-9FEF-0F25ECD561D1}"/>
          </ac:cxnSpMkLst>
        </pc:cxnChg>
        <pc:cxnChg chg="del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52" creationId="{AD983221-8B51-AA91-FF30-E58EBD3BE064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53" creationId="{24032632-1965-372D-5558-80953F2B9435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54" creationId="{A6778783-347E-3928-57C4-67A83E916640}"/>
          </ac:cxnSpMkLst>
        </pc:cxnChg>
        <pc:cxnChg chg="del mod">
          <ac:chgData name="Jason Madden" userId="bc5fc663-4acf-4c70-beae-e4d4354e4ea1" providerId="ADAL" clId="{9242D02F-3850-469A-9E84-08401F66F885}" dt="2022-11-22T22:50:58.607" v="1276" actId="478"/>
          <ac:cxnSpMkLst>
            <pc:docMk/>
            <pc:sldMk cId="1746672654" sldId="2147471265"/>
            <ac:cxnSpMk id="58" creationId="{8BBBF622-3CAB-F0A6-CA4B-3475A7536EF6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59" creationId="{504A3C94-6072-B8B9-AFA7-70B863DF7BBA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60" creationId="{920DB9F2-4583-8CD3-323A-1FC430731460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66" creationId="{85168ED8-15A8-5C7D-E44D-C3D86DF17F8C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67" creationId="{6F153CE4-E06F-E9FB-5282-101DBC4FAFD6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68" creationId="{87312293-0254-45E1-9E3B-1615C1AE8A96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69" creationId="{5C0B04D3-74BC-4BF1-2EC5-1DBFB0B07523}"/>
          </ac:cxnSpMkLst>
        </pc:cxnChg>
        <pc:cxnChg chg="add del mod">
          <ac:chgData name="Jason Madden" userId="bc5fc663-4acf-4c70-beae-e4d4354e4ea1" providerId="ADAL" clId="{9242D02F-3850-469A-9E84-08401F66F885}" dt="2022-11-22T22:50:59.826" v="1278"/>
          <ac:cxnSpMkLst>
            <pc:docMk/>
            <pc:sldMk cId="1746672654" sldId="2147471265"/>
            <ac:cxnSpMk id="71" creationId="{F7430088-E59E-FEA7-60AB-37C0146A3767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80" creationId="{BB638CC8-65EA-7E9C-A884-4FF92C738135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83" creationId="{43F4748F-6A5D-D4BC-F996-510FCF867560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94" creationId="{8E465BE8-595E-E611-4B94-E216DE029FAC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95" creationId="{39913A89-8EFA-B665-B653-1AE7DFBE00CB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98" creationId="{5E690986-564A-9602-43AA-D3065D787CCB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99" creationId="{7201557F-D911-E596-174F-23428B77894F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104" creationId="{24155DA7-FD09-D435-CC52-FF7B2721E118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105" creationId="{154EE74D-D700-095F-76F7-0456DF2C9707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106" creationId="{DB79EE7E-B16D-C84E-6591-DA1F8438C20F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107" creationId="{99BDC2CB-1265-A153-5595-319AC078C0B7}"/>
          </ac:cxnSpMkLst>
        </pc:cxnChg>
        <pc:cxnChg chg="add mod">
          <ac:chgData name="Jason Madden" userId="bc5fc663-4acf-4c70-beae-e4d4354e4ea1" providerId="ADAL" clId="{9242D02F-3850-469A-9E84-08401F66F885}" dt="2022-11-22T22:51:02.449" v="1280"/>
          <ac:cxnSpMkLst>
            <pc:docMk/>
            <pc:sldMk cId="1746672654" sldId="2147471265"/>
            <ac:cxnSpMk id="109" creationId="{D3495D70-E4D0-23A9-922F-D3CE0C3B0CCA}"/>
          </ac:cxnSpMkLst>
        </pc:cxnChg>
      </pc:sldChg>
      <pc:sldChg chg="addSp delSp modSp mod">
        <pc:chgData name="Jason Madden" userId="bc5fc663-4acf-4c70-beae-e4d4354e4ea1" providerId="ADAL" clId="{9242D02F-3850-469A-9E84-08401F66F885}" dt="2022-11-22T22:51:43.229" v="1285" actId="478"/>
        <pc:sldMkLst>
          <pc:docMk/>
          <pc:sldMk cId="289244722" sldId="2147471270"/>
        </pc:sldMkLst>
        <pc:spChg chg="add del mod">
          <ac:chgData name="Jason Madden" userId="bc5fc663-4acf-4c70-beae-e4d4354e4ea1" providerId="ADAL" clId="{9242D02F-3850-469A-9E84-08401F66F885}" dt="2022-11-22T22:51:43.229" v="1285" actId="478"/>
          <ac:spMkLst>
            <pc:docMk/>
            <pc:sldMk cId="289244722" sldId="2147471270"/>
            <ac:spMk id="7" creationId="{1137C051-344D-EEB7-9A42-9DF6DFFE20D4}"/>
          </ac:spMkLst>
        </pc:spChg>
        <pc:grpChg chg="mod">
          <ac:chgData name="Jason Madden" userId="bc5fc663-4acf-4c70-beae-e4d4354e4ea1" providerId="ADAL" clId="{9242D02F-3850-469A-9E84-08401F66F885}" dt="2022-11-22T22:51:38.830" v="1284" actId="1076"/>
          <ac:grpSpMkLst>
            <pc:docMk/>
            <pc:sldMk cId="289244722" sldId="2147471270"/>
            <ac:grpSpMk id="5" creationId="{AE082418-36DD-4ADC-B235-FBC80A390F90}"/>
          </ac:grpSpMkLst>
        </pc:grpChg>
        <pc:graphicFrameChg chg="mod">
          <ac:chgData name="Jason Madden" userId="bc5fc663-4acf-4c70-beae-e4d4354e4ea1" providerId="ADAL" clId="{9242D02F-3850-469A-9E84-08401F66F885}" dt="2022-11-22T22:51:32.149" v="1283"/>
          <ac:graphicFrameMkLst>
            <pc:docMk/>
            <pc:sldMk cId="289244722" sldId="2147471270"/>
            <ac:graphicFrameMk id="15" creationId="{4B0E3899-EF9F-42BF-B95E-A5B260642637}"/>
          </ac:graphicFrameMkLst>
        </pc:graphicFrameChg>
      </pc:sldChg>
      <pc:sldChg chg="del">
        <pc:chgData name="Jason Madden" userId="bc5fc663-4acf-4c70-beae-e4d4354e4ea1" providerId="ADAL" clId="{9242D02F-3850-469A-9E84-08401F66F885}" dt="2022-11-22T22:40:54.800" v="1170" actId="47"/>
        <pc:sldMkLst>
          <pc:docMk/>
          <pc:sldMk cId="1713770304" sldId="2147471285"/>
        </pc:sldMkLst>
      </pc:sldChg>
      <pc:sldChg chg="addSp delSp modSp mod">
        <pc:chgData name="Jason Madden" userId="bc5fc663-4acf-4c70-beae-e4d4354e4ea1" providerId="ADAL" clId="{9242D02F-3850-469A-9E84-08401F66F885}" dt="2022-11-22T21:57:44.736" v="815" actId="478"/>
        <pc:sldMkLst>
          <pc:docMk/>
          <pc:sldMk cId="2151858569" sldId="2147471288"/>
        </pc:sldMkLst>
        <pc:spChg chg="mod">
          <ac:chgData name="Jason Madden" userId="bc5fc663-4acf-4c70-beae-e4d4354e4ea1" providerId="ADAL" clId="{9242D02F-3850-469A-9E84-08401F66F885}" dt="2022-11-22T21:57:42.827" v="810" actId="948"/>
          <ac:spMkLst>
            <pc:docMk/>
            <pc:sldMk cId="2151858569" sldId="2147471288"/>
            <ac:spMk id="2" creationId="{ADD4AFF6-2FE2-F1B9-FE1C-1C57AA7801C1}"/>
          </ac:spMkLst>
        </pc:spChg>
        <pc:spChg chg="add del mod">
          <ac:chgData name="Jason Madden" userId="bc5fc663-4acf-4c70-beae-e4d4354e4ea1" providerId="ADAL" clId="{9242D02F-3850-469A-9E84-08401F66F885}" dt="2022-11-22T21:57:44.736" v="815" actId="478"/>
          <ac:spMkLst>
            <pc:docMk/>
            <pc:sldMk cId="2151858569" sldId="2147471288"/>
            <ac:spMk id="7" creationId="{4954769F-98C7-59A6-69FA-D933025DBFF9}"/>
          </ac:spMkLst>
        </pc:spChg>
        <pc:spChg chg="add del mod modVis">
          <ac:chgData name="Jason Madden" userId="bc5fc663-4acf-4c70-beae-e4d4354e4ea1" providerId="ADAL" clId="{9242D02F-3850-469A-9E84-08401F66F885}" dt="2022-11-22T21:57:39.112" v="806"/>
          <ac:spMkLst>
            <pc:docMk/>
            <pc:sldMk cId="2151858569" sldId="2147471288"/>
            <ac:spMk id="9" creationId="{1AC30DBA-470C-7224-26FA-AA0BD5C61815}"/>
          </ac:spMkLst>
        </pc:spChg>
        <pc:graphicFrameChg chg="mod">
          <ac:chgData name="Jason Madden" userId="bc5fc663-4acf-4c70-beae-e4d4354e4ea1" providerId="ADAL" clId="{9242D02F-3850-469A-9E84-08401F66F885}" dt="2022-11-22T21:57:42.840" v="814"/>
          <ac:graphicFrameMkLst>
            <pc:docMk/>
            <pc:sldMk cId="2151858569" sldId="2147471288"/>
            <ac:graphicFrameMk id="6" creationId="{D6AA06FC-779C-D911-2E0A-1459AB6274EB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2T22:56:28.984" v="1544" actId="14100"/>
        <pc:sldMkLst>
          <pc:docMk/>
          <pc:sldMk cId="3598438342" sldId="2147471301"/>
        </pc:sldMkLst>
        <pc:spChg chg="add del mod">
          <ac:chgData name="Jason Madden" userId="bc5fc663-4acf-4c70-beae-e4d4354e4ea1" providerId="ADAL" clId="{9242D02F-3850-469A-9E84-08401F66F885}" dt="2022-11-22T22:56:25.416" v="1543" actId="478"/>
          <ac:spMkLst>
            <pc:docMk/>
            <pc:sldMk cId="3598438342" sldId="2147471301"/>
            <ac:spMk id="3" creationId="{6FD78319-5F71-CAFB-5D9A-A19A8F1FCDE8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9" creationId="{A327555C-6EF8-A471-58EB-2814222B1AA3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10" creationId="{87C6235A-867A-598C-D91D-7497ACFC4B1A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18" creationId="{D899A88A-5DC4-FD75-F738-4DEB627F1FFA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19" creationId="{245236CF-BB6C-CCB8-9DB8-5A0BDA6976F0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22" creationId="{9517D3DB-A346-C617-D59C-FB207C58DADB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23" creationId="{F1D5CDB6-2EC0-36D8-3DCB-93D9D57212C2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27" creationId="{38DA97D1-4A0C-0DBA-CEC3-9255EE9FEC00}"/>
          </ac:spMkLst>
        </pc:spChg>
        <pc:spChg chg="mod">
          <ac:chgData name="Jason Madden" userId="bc5fc663-4acf-4c70-beae-e4d4354e4ea1" providerId="ADAL" clId="{9242D02F-3850-469A-9E84-08401F66F885}" dt="2022-11-22T22:55:55.472" v="1534"/>
          <ac:spMkLst>
            <pc:docMk/>
            <pc:sldMk cId="3598438342" sldId="2147471301"/>
            <ac:spMk id="32" creationId="{F58E6E82-BE91-E11A-E8D9-4F1EB412F29F}"/>
          </ac:spMkLst>
        </pc:spChg>
        <pc:spChg chg="add mod">
          <ac:chgData name="Jason Madden" userId="bc5fc663-4acf-4c70-beae-e4d4354e4ea1" providerId="ADAL" clId="{9242D02F-3850-469A-9E84-08401F66F885}" dt="2022-11-22T22:56:14.997" v="1541" actId="14100"/>
          <ac:spMkLst>
            <pc:docMk/>
            <pc:sldMk cId="3598438342" sldId="2147471301"/>
            <ac:spMk id="33" creationId="{0DC1E8BA-711E-1289-EAA9-19D5077F9BF2}"/>
          </ac:spMkLst>
        </pc:spChg>
        <pc:spChg chg="mod">
          <ac:chgData name="Jason Madden" userId="bc5fc663-4acf-4c70-beae-e4d4354e4ea1" providerId="ADAL" clId="{9242D02F-3850-469A-9E84-08401F66F885}" dt="2022-11-22T22:56:28.984" v="1544" actId="14100"/>
          <ac:spMkLst>
            <pc:docMk/>
            <pc:sldMk cId="3598438342" sldId="2147471301"/>
            <ac:spMk id="34" creationId="{DDF18385-1AFB-4D66-AFE8-4B663C8AFA9C}"/>
          </ac:spMkLst>
        </pc:spChg>
        <pc:spChg chg="add mod">
          <ac:chgData name="Jason Madden" userId="bc5fc663-4acf-4c70-beae-e4d4354e4ea1" providerId="ADAL" clId="{9242D02F-3850-469A-9E84-08401F66F885}" dt="2022-11-22T22:56:20.126" v="1542" actId="571"/>
          <ac:spMkLst>
            <pc:docMk/>
            <pc:sldMk cId="3598438342" sldId="2147471301"/>
            <ac:spMk id="36" creationId="{BAEA432B-20CE-F8AA-919E-C3C79C1471C5}"/>
          </ac:spMkLst>
        </pc:spChg>
        <pc:spChg chg="mod">
          <ac:chgData name="Jason Madden" userId="bc5fc663-4acf-4c70-beae-e4d4354e4ea1" providerId="ADAL" clId="{9242D02F-3850-469A-9E84-08401F66F885}" dt="2022-11-22T22:55:31.371" v="1527" actId="1076"/>
          <ac:spMkLst>
            <pc:docMk/>
            <pc:sldMk cId="3598438342" sldId="2147471301"/>
            <ac:spMk id="112" creationId="{4061CAFE-246D-4F49-9196-ED3ADED174A5}"/>
          </ac:spMkLst>
        </pc:spChg>
        <pc:spChg chg="mod">
          <ac:chgData name="Jason Madden" userId="bc5fc663-4acf-4c70-beae-e4d4354e4ea1" providerId="ADAL" clId="{9242D02F-3850-469A-9E84-08401F66F885}" dt="2022-11-22T22:56:00.628" v="1536" actId="1076"/>
          <ac:spMkLst>
            <pc:docMk/>
            <pc:sldMk cId="3598438342" sldId="2147471301"/>
            <ac:spMk id="113" creationId="{512B1756-288E-4512-A1DF-45FB394131DD}"/>
          </ac:spMkLst>
        </pc:spChg>
        <pc:grpChg chg="add mod">
          <ac:chgData name="Jason Madden" userId="bc5fc663-4acf-4c70-beae-e4d4354e4ea1" providerId="ADAL" clId="{9242D02F-3850-469A-9E84-08401F66F885}" dt="2022-11-22T22:56:06.138" v="1538" actId="1076"/>
          <ac:grpSpMkLst>
            <pc:docMk/>
            <pc:sldMk cId="3598438342" sldId="2147471301"/>
            <ac:grpSpMk id="5" creationId="{37189DA1-8B0C-17B7-6531-22E8E01D16E7}"/>
          </ac:grpSpMkLst>
        </pc:grpChg>
        <pc:grpChg chg="del mod">
          <ac:chgData name="Jason Madden" userId="bc5fc663-4acf-4c70-beae-e4d4354e4ea1" providerId="ADAL" clId="{9242D02F-3850-469A-9E84-08401F66F885}" dt="2022-11-22T22:55:50.911" v="1533" actId="478"/>
          <ac:grpSpMkLst>
            <pc:docMk/>
            <pc:sldMk cId="3598438342" sldId="2147471301"/>
            <ac:grpSpMk id="11" creationId="{713B0CB8-64E4-2F4B-20BD-53412064DA64}"/>
          </ac:grpSpMkLst>
        </pc:grpChg>
        <pc:grpChg chg="add mod">
          <ac:chgData name="Jason Madden" userId="bc5fc663-4acf-4c70-beae-e4d4354e4ea1" providerId="ADAL" clId="{9242D02F-3850-469A-9E84-08401F66F885}" dt="2022-11-22T22:56:06.138" v="1538" actId="1076"/>
          <ac:grpSpMkLst>
            <pc:docMk/>
            <pc:sldMk cId="3598438342" sldId="2147471301"/>
            <ac:grpSpMk id="20" creationId="{8DD4938E-524F-E0AA-694D-A1465009E97F}"/>
          </ac:grpSpMkLst>
        </pc:grpChg>
        <pc:grpChg chg="del mod">
          <ac:chgData name="Jason Madden" userId="bc5fc663-4acf-4c70-beae-e4d4354e4ea1" providerId="ADAL" clId="{9242D02F-3850-469A-9E84-08401F66F885}" dt="2022-11-22T22:55:49.933" v="1532" actId="478"/>
          <ac:grpSpMkLst>
            <pc:docMk/>
            <pc:sldMk cId="3598438342" sldId="2147471301"/>
            <ac:grpSpMk id="105" creationId="{A4D0D486-253F-4ADA-97B9-5FA3CB36F9AC}"/>
          </ac:grpSpMkLst>
        </pc:grpChg>
      </pc:sldChg>
      <pc:sldChg chg="addSp delSp modSp del mod">
        <pc:chgData name="Jason Madden" userId="bc5fc663-4acf-4c70-beae-e4d4354e4ea1" providerId="ADAL" clId="{9242D02F-3850-469A-9E84-08401F66F885}" dt="2022-11-22T22:59:30.220" v="1648" actId="47"/>
        <pc:sldMkLst>
          <pc:docMk/>
          <pc:sldMk cId="825938584" sldId="2147471305"/>
        </pc:sldMkLst>
        <pc:spChg chg="mod">
          <ac:chgData name="Jason Madden" userId="bc5fc663-4acf-4c70-beae-e4d4354e4ea1" providerId="ADAL" clId="{9242D02F-3850-469A-9E84-08401F66F885}" dt="2022-11-22T22:59:17.676" v="1604" actId="948"/>
          <ac:spMkLst>
            <pc:docMk/>
            <pc:sldMk cId="825938584" sldId="2147471305"/>
            <ac:spMk id="2" creationId="{9C29364D-ACA1-1827-A482-F94881E266CC}"/>
          </ac:spMkLst>
        </pc:spChg>
        <pc:spChg chg="add mod">
          <ac:chgData name="Jason Madden" userId="bc5fc663-4acf-4c70-beae-e4d4354e4ea1" providerId="ADAL" clId="{9242D02F-3850-469A-9E84-08401F66F885}" dt="2022-11-22T22:59:14.994" v="1602" actId="1076"/>
          <ac:spMkLst>
            <pc:docMk/>
            <pc:sldMk cId="825938584" sldId="2147471305"/>
            <ac:spMk id="3" creationId="{F68C1A28-A18D-25BB-437D-5577E1102F89}"/>
          </ac:spMkLst>
        </pc:spChg>
        <pc:spChg chg="add del mod modVis">
          <ac:chgData name="Jason Madden" userId="bc5fc663-4acf-4c70-beae-e4d4354e4ea1" providerId="ADAL" clId="{9242D02F-3850-469A-9E84-08401F66F885}" dt="2022-11-22T22:59:17.739" v="1645"/>
          <ac:spMkLst>
            <pc:docMk/>
            <pc:sldMk cId="825938584" sldId="2147471305"/>
            <ac:spMk id="5" creationId="{03DA1712-8AE5-8A9D-23F5-14E663331C8D}"/>
          </ac:spMkLst>
        </pc:spChg>
        <pc:graphicFrameChg chg="mod">
          <ac:chgData name="Jason Madden" userId="bc5fc663-4acf-4c70-beae-e4d4354e4ea1" providerId="ADAL" clId="{9242D02F-3850-469A-9E84-08401F66F885}" dt="2022-11-22T22:59:17.739" v="1647"/>
          <ac:graphicFrameMkLst>
            <pc:docMk/>
            <pc:sldMk cId="825938584" sldId="2147471305"/>
            <ac:graphicFrameMk id="6" creationId="{9D725CFB-1619-032D-F57C-F4CFF609C872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2T23:45:38.469" v="2150" actId="1076"/>
        <pc:sldMkLst>
          <pc:docMk/>
          <pc:sldMk cId="1170383945" sldId="2147471308"/>
        </pc:sldMkLst>
        <pc:spChg chg="add del mod">
          <ac:chgData name="Jason Madden" userId="bc5fc663-4acf-4c70-beae-e4d4354e4ea1" providerId="ADAL" clId="{9242D02F-3850-469A-9E84-08401F66F885}" dt="2022-11-22T23:45:38.469" v="2150" actId="1076"/>
          <ac:spMkLst>
            <pc:docMk/>
            <pc:sldMk cId="1170383945" sldId="2147471308"/>
            <ac:spMk id="3" creationId="{CA582DE2-D22B-09B1-4B37-C83E8482D1D1}"/>
          </ac:spMkLst>
        </pc:spChg>
      </pc:sldChg>
      <pc:sldChg chg="addSp delSp modSp mod">
        <pc:chgData name="Jason Madden" userId="bc5fc663-4acf-4c70-beae-e4d4354e4ea1" providerId="ADAL" clId="{9242D02F-3850-469A-9E84-08401F66F885}" dt="2022-11-22T23:45:17.254" v="2135" actId="478"/>
        <pc:sldMkLst>
          <pc:docMk/>
          <pc:sldMk cId="2797958873" sldId="2147471309"/>
        </pc:sldMkLst>
        <pc:spChg chg="del">
          <ac:chgData name="Jason Madden" userId="bc5fc663-4acf-4c70-beae-e4d4354e4ea1" providerId="ADAL" clId="{9242D02F-3850-469A-9E84-08401F66F885}" dt="2022-11-22T23:45:17.254" v="2135" actId="478"/>
          <ac:spMkLst>
            <pc:docMk/>
            <pc:sldMk cId="2797958873" sldId="2147471309"/>
            <ac:spMk id="6" creationId="{B896F5AC-C13F-2280-0F1D-01D4DCDF9479}"/>
          </ac:spMkLst>
        </pc:spChg>
        <pc:picChg chg="add mod">
          <ac:chgData name="Jason Madden" userId="bc5fc663-4acf-4c70-beae-e4d4354e4ea1" providerId="ADAL" clId="{9242D02F-3850-469A-9E84-08401F66F885}" dt="2022-11-22T23:43:58.896" v="2120" actId="1076"/>
          <ac:picMkLst>
            <pc:docMk/>
            <pc:sldMk cId="2797958873" sldId="2147471309"/>
            <ac:picMk id="7" creationId="{607F5523-FE38-12FF-8037-3A360413D332}"/>
          </ac:picMkLst>
        </pc:picChg>
        <pc:picChg chg="add mod">
          <ac:chgData name="Jason Madden" userId="bc5fc663-4acf-4c70-beae-e4d4354e4ea1" providerId="ADAL" clId="{9242D02F-3850-469A-9E84-08401F66F885}" dt="2022-11-22T23:44:40.343" v="2128" actId="1076"/>
          <ac:picMkLst>
            <pc:docMk/>
            <pc:sldMk cId="2797958873" sldId="2147471309"/>
            <ac:picMk id="11" creationId="{DDB4DC1A-AEA5-DD5B-0A8A-FA3FEE6DA4AD}"/>
          </ac:picMkLst>
        </pc:picChg>
        <pc:picChg chg="add mod">
          <ac:chgData name="Jason Madden" userId="bc5fc663-4acf-4c70-beae-e4d4354e4ea1" providerId="ADAL" clId="{9242D02F-3850-469A-9E84-08401F66F885}" dt="2022-11-22T23:45:14.982" v="2134" actId="1076"/>
          <ac:picMkLst>
            <pc:docMk/>
            <pc:sldMk cId="2797958873" sldId="2147471309"/>
            <ac:picMk id="12" creationId="{D6B971E5-2129-758A-6859-308BB373326A}"/>
          </ac:picMkLst>
        </pc:picChg>
        <pc:picChg chg="del">
          <ac:chgData name="Jason Madden" userId="bc5fc663-4acf-4c70-beae-e4d4354e4ea1" providerId="ADAL" clId="{9242D02F-3850-469A-9E84-08401F66F885}" dt="2022-11-22T23:43:55.604" v="2119" actId="478"/>
          <ac:picMkLst>
            <pc:docMk/>
            <pc:sldMk cId="2797958873" sldId="2147471309"/>
            <ac:picMk id="14" creationId="{7D784EE5-E8BC-BAE7-CA03-EA1A0DE709CA}"/>
          </ac:picMkLst>
        </pc:picChg>
        <pc:picChg chg="del">
          <ac:chgData name="Jason Madden" userId="bc5fc663-4acf-4c70-beae-e4d4354e4ea1" providerId="ADAL" clId="{9242D02F-3850-469A-9E84-08401F66F885}" dt="2022-11-22T23:45:11.972" v="2133" actId="478"/>
          <ac:picMkLst>
            <pc:docMk/>
            <pc:sldMk cId="2797958873" sldId="2147471309"/>
            <ac:picMk id="15" creationId="{F0DD5087-CEFB-9634-9BDE-088BAB05A266}"/>
          </ac:picMkLst>
        </pc:picChg>
        <pc:picChg chg="del">
          <ac:chgData name="Jason Madden" userId="bc5fc663-4acf-4c70-beae-e4d4354e4ea1" providerId="ADAL" clId="{9242D02F-3850-469A-9E84-08401F66F885}" dt="2022-11-22T23:44:35.735" v="2127" actId="478"/>
          <ac:picMkLst>
            <pc:docMk/>
            <pc:sldMk cId="2797958873" sldId="2147471309"/>
            <ac:picMk id="48" creationId="{BC214303-8F29-4D06-90E8-26E9E9AE6FAA}"/>
          </ac:picMkLst>
        </pc:picChg>
      </pc:sldChg>
      <pc:sldChg chg="addSp delSp modSp mod">
        <pc:chgData name="Jason Madden" userId="bc5fc663-4acf-4c70-beae-e4d4354e4ea1" providerId="ADAL" clId="{9242D02F-3850-469A-9E84-08401F66F885}" dt="2022-11-22T22:55:18.855" v="1525"/>
        <pc:sldMkLst>
          <pc:docMk/>
          <pc:sldMk cId="3029628369" sldId="2147471316"/>
        </pc:sldMkLst>
        <pc:spChg chg="mod">
          <ac:chgData name="Jason Madden" userId="bc5fc663-4acf-4c70-beae-e4d4354e4ea1" providerId="ADAL" clId="{9242D02F-3850-469A-9E84-08401F66F885}" dt="2022-11-22T22:55:18.855" v="1521" actId="948"/>
          <ac:spMkLst>
            <pc:docMk/>
            <pc:sldMk cId="3029628369" sldId="2147471316"/>
            <ac:spMk id="2" creationId="{695D065F-F447-4B44-96A5-9336671DF4E6}"/>
          </ac:spMkLst>
        </pc:spChg>
        <pc:spChg chg="add del mod">
          <ac:chgData name="Jason Madden" userId="bc5fc663-4acf-4c70-beae-e4d4354e4ea1" providerId="ADAL" clId="{9242D02F-3850-469A-9E84-08401F66F885}" dt="2022-11-22T21:55:00.893" v="563"/>
          <ac:spMkLst>
            <pc:docMk/>
            <pc:sldMk cId="3029628369" sldId="2147471316"/>
            <ac:spMk id="3" creationId="{E0F306DA-9B93-CC18-130A-4F330D786487}"/>
          </ac:spMkLst>
        </pc:spChg>
        <pc:spChg chg="del">
          <ac:chgData name="Jason Madden" userId="bc5fc663-4acf-4c70-beae-e4d4354e4ea1" providerId="ADAL" clId="{9242D02F-3850-469A-9E84-08401F66F885}" dt="2022-11-22T22:55:18.085" v="1388"/>
          <ac:spMkLst>
            <pc:docMk/>
            <pc:sldMk cId="3029628369" sldId="2147471316"/>
            <ac:spMk id="6" creationId="{7FFF68A4-BAC4-4CBE-A87B-99E1E50CCFF2}"/>
          </ac:spMkLst>
        </pc:spChg>
        <pc:spChg chg="add del mod">
          <ac:chgData name="Jason Madden" userId="bc5fc663-4acf-4c70-beae-e4d4354e4ea1" providerId="ADAL" clId="{9242D02F-3850-469A-9E84-08401F66F885}" dt="2022-11-22T22:55:18.108" v="1448"/>
          <ac:spMkLst>
            <pc:docMk/>
            <pc:sldMk cId="3029628369" sldId="2147471316"/>
            <ac:spMk id="7" creationId="{7E3211BE-0E69-C94D-B7C0-3689D60B848F}"/>
          </ac:spMkLst>
        </pc:spChg>
        <pc:spChg chg="del">
          <ac:chgData name="Jason Madden" userId="bc5fc663-4acf-4c70-beae-e4d4354e4ea1" providerId="ADAL" clId="{9242D02F-3850-469A-9E84-08401F66F885}" dt="2022-11-22T22:55:18.092" v="1416"/>
          <ac:spMkLst>
            <pc:docMk/>
            <pc:sldMk cId="3029628369" sldId="2147471316"/>
            <ac:spMk id="8" creationId="{AB2116BE-5B58-4039-9D77-69F74876FC0F}"/>
          </ac:spMkLst>
        </pc:spChg>
        <pc:spChg chg="del">
          <ac:chgData name="Jason Madden" userId="bc5fc663-4acf-4c70-beae-e4d4354e4ea1" providerId="ADAL" clId="{9242D02F-3850-469A-9E84-08401F66F885}" dt="2022-11-22T22:55:18.085" v="1390"/>
          <ac:spMkLst>
            <pc:docMk/>
            <pc:sldMk cId="3029628369" sldId="2147471316"/>
            <ac:spMk id="9" creationId="{87665C45-3BDE-4336-802F-76B4C900EC71}"/>
          </ac:spMkLst>
        </pc:spChg>
        <pc:spChg chg="del">
          <ac:chgData name="Jason Madden" userId="bc5fc663-4acf-4c70-beae-e4d4354e4ea1" providerId="ADAL" clId="{9242D02F-3850-469A-9E84-08401F66F885}" dt="2022-11-22T22:55:18.108" v="1446"/>
          <ac:spMkLst>
            <pc:docMk/>
            <pc:sldMk cId="3029628369" sldId="2147471316"/>
            <ac:spMk id="10" creationId="{A064B3D4-6DE8-4187-BF7A-414A6DAD1640}"/>
          </ac:spMkLst>
        </pc:spChg>
        <pc:spChg chg="del">
          <ac:chgData name="Jason Madden" userId="bc5fc663-4acf-4c70-beae-e4d4354e4ea1" providerId="ADAL" clId="{9242D02F-3850-469A-9E84-08401F66F885}" dt="2022-11-22T22:55:18.085" v="1392"/>
          <ac:spMkLst>
            <pc:docMk/>
            <pc:sldMk cId="3029628369" sldId="2147471316"/>
            <ac:spMk id="11" creationId="{4B051784-E6CA-4A42-9452-07BD530EF9C9}"/>
          </ac:spMkLst>
        </pc:spChg>
        <pc:spChg chg="del">
          <ac:chgData name="Jason Madden" userId="bc5fc663-4acf-4c70-beae-e4d4354e4ea1" providerId="ADAL" clId="{9242D02F-3850-469A-9E84-08401F66F885}" dt="2022-11-22T22:55:18.108" v="1442"/>
          <ac:spMkLst>
            <pc:docMk/>
            <pc:sldMk cId="3029628369" sldId="2147471316"/>
            <ac:spMk id="12" creationId="{ACA3B9ED-5874-46C1-A7C0-6263CC8FD432}"/>
          </ac:spMkLst>
        </pc:spChg>
        <pc:spChg chg="del">
          <ac:chgData name="Jason Madden" userId="bc5fc663-4acf-4c70-beae-e4d4354e4ea1" providerId="ADAL" clId="{9242D02F-3850-469A-9E84-08401F66F885}" dt="2022-11-22T22:55:18.108" v="1444"/>
          <ac:spMkLst>
            <pc:docMk/>
            <pc:sldMk cId="3029628369" sldId="2147471316"/>
            <ac:spMk id="13" creationId="{C6D325D1-CCF1-4B56-867F-8CAEBC66D795}"/>
          </ac:spMkLst>
        </pc:spChg>
        <pc:spChg chg="del">
          <ac:chgData name="Jason Madden" userId="bc5fc663-4acf-4c70-beae-e4d4354e4ea1" providerId="ADAL" clId="{9242D02F-3850-469A-9E84-08401F66F885}" dt="2022-11-22T22:55:18.085" v="1386"/>
          <ac:spMkLst>
            <pc:docMk/>
            <pc:sldMk cId="3029628369" sldId="2147471316"/>
            <ac:spMk id="14" creationId="{CBC3DE0D-68A6-494B-8DF3-8071502A18B9}"/>
          </ac:spMkLst>
        </pc:spChg>
        <pc:spChg chg="add del mod modVis">
          <ac:chgData name="Jason Madden" userId="bc5fc663-4acf-4c70-beae-e4d4354e4ea1" providerId="ADAL" clId="{9242D02F-3850-469A-9E84-08401F66F885}" dt="2022-11-22T22:55:18.154" v="1490"/>
          <ac:spMkLst>
            <pc:docMk/>
            <pc:sldMk cId="3029628369" sldId="2147471316"/>
            <ac:spMk id="16" creationId="{A5E0DF36-A186-2D5F-323B-027C04E862FD}"/>
          </ac:spMkLst>
        </pc:spChg>
        <pc:spChg chg="add mod">
          <ac:chgData name="Jason Madden" userId="bc5fc663-4acf-4c70-beae-e4d4354e4ea1" providerId="ADAL" clId="{9242D02F-3850-469A-9E84-08401F66F885}" dt="2022-11-22T22:55:18.793" v="1493"/>
          <ac:spMkLst>
            <pc:docMk/>
            <pc:sldMk cId="3029628369" sldId="2147471316"/>
            <ac:spMk id="18" creationId="{E7678DB5-7CA0-D436-CB03-D7A7CB08EFD1}"/>
          </ac:spMkLst>
        </pc:spChg>
        <pc:spChg chg="add mod replST">
          <ac:chgData name="Jason Madden" userId="bc5fc663-4acf-4c70-beae-e4d4354e4ea1" providerId="ADAL" clId="{9242D02F-3850-469A-9E84-08401F66F885}" dt="2022-11-22T22:55:18.824" v="1494"/>
          <ac:spMkLst>
            <pc:docMk/>
            <pc:sldMk cId="3029628369" sldId="2147471316"/>
            <ac:spMk id="19" creationId="{AC2B95EE-1CDF-FA75-146A-59D5815B8D9D}"/>
          </ac:spMkLst>
        </pc:spChg>
        <pc:spChg chg="add mod">
          <ac:chgData name="Jason Madden" userId="bc5fc663-4acf-4c70-beae-e4d4354e4ea1" providerId="ADAL" clId="{9242D02F-3850-469A-9E84-08401F66F885}" dt="2022-11-22T22:55:18.793" v="1493"/>
          <ac:spMkLst>
            <pc:docMk/>
            <pc:sldMk cId="3029628369" sldId="2147471316"/>
            <ac:spMk id="20" creationId="{7B57C737-B114-91FD-4416-077ED3121066}"/>
          </ac:spMkLst>
        </pc:spChg>
        <pc:spChg chg="add mod replST">
          <ac:chgData name="Jason Madden" userId="bc5fc663-4acf-4c70-beae-e4d4354e4ea1" providerId="ADAL" clId="{9242D02F-3850-469A-9E84-08401F66F885}" dt="2022-11-22T22:55:18.824" v="1495"/>
          <ac:spMkLst>
            <pc:docMk/>
            <pc:sldMk cId="3029628369" sldId="2147471316"/>
            <ac:spMk id="21" creationId="{0815F627-9062-3C71-AF0C-72ED09BD3F20}"/>
          </ac:spMkLst>
        </pc:spChg>
        <pc:spChg chg="add mod">
          <ac:chgData name="Jason Madden" userId="bc5fc663-4acf-4c70-beae-e4d4354e4ea1" providerId="ADAL" clId="{9242D02F-3850-469A-9E84-08401F66F885}" dt="2022-11-22T22:55:18.793" v="1493"/>
          <ac:spMkLst>
            <pc:docMk/>
            <pc:sldMk cId="3029628369" sldId="2147471316"/>
            <ac:spMk id="22" creationId="{EF2718D9-0357-FDAD-7642-8BFDFD175160}"/>
          </ac:spMkLst>
        </pc:spChg>
        <pc:spChg chg="del">
          <ac:chgData name="Jason Madden" userId="bc5fc663-4acf-4c70-beae-e4d4354e4ea1" providerId="ADAL" clId="{9242D02F-3850-469A-9E84-08401F66F885}" dt="2022-11-22T22:55:18.108" v="1434"/>
          <ac:spMkLst>
            <pc:docMk/>
            <pc:sldMk cId="3029628369" sldId="2147471316"/>
            <ac:spMk id="23" creationId="{CC28A50E-70A4-4AA6-B142-16491A879E17}"/>
          </ac:spMkLst>
        </pc:spChg>
        <pc:spChg chg="del">
          <ac:chgData name="Jason Madden" userId="bc5fc663-4acf-4c70-beae-e4d4354e4ea1" providerId="ADAL" clId="{9242D02F-3850-469A-9E84-08401F66F885}" dt="2022-11-22T22:55:18.108" v="1436"/>
          <ac:spMkLst>
            <pc:docMk/>
            <pc:sldMk cId="3029628369" sldId="2147471316"/>
            <ac:spMk id="24" creationId="{1AC6F237-8A57-4797-AF05-BABDD911121B}"/>
          </ac:spMkLst>
        </pc:spChg>
        <pc:spChg chg="del">
          <ac:chgData name="Jason Madden" userId="bc5fc663-4acf-4c70-beae-e4d4354e4ea1" providerId="ADAL" clId="{9242D02F-3850-469A-9E84-08401F66F885}" dt="2022-11-22T22:55:18.108" v="1438"/>
          <ac:spMkLst>
            <pc:docMk/>
            <pc:sldMk cId="3029628369" sldId="2147471316"/>
            <ac:spMk id="25" creationId="{7E0A9444-1712-4332-972E-56E14A22338A}"/>
          </ac:spMkLst>
        </pc:spChg>
        <pc:spChg chg="del">
          <ac:chgData name="Jason Madden" userId="bc5fc663-4acf-4c70-beae-e4d4354e4ea1" providerId="ADAL" clId="{9242D02F-3850-469A-9E84-08401F66F885}" dt="2022-11-22T22:55:18.108" v="1440"/>
          <ac:spMkLst>
            <pc:docMk/>
            <pc:sldMk cId="3029628369" sldId="2147471316"/>
            <ac:spMk id="26" creationId="{D5C955D1-BCDA-4CEB-8555-9D4D4697CC30}"/>
          </ac:spMkLst>
        </pc:spChg>
        <pc:spChg chg="del">
          <ac:chgData name="Jason Madden" userId="bc5fc663-4acf-4c70-beae-e4d4354e4ea1" providerId="ADAL" clId="{9242D02F-3850-469A-9E84-08401F66F885}" dt="2022-11-22T22:55:18.092" v="1430"/>
          <ac:spMkLst>
            <pc:docMk/>
            <pc:sldMk cId="3029628369" sldId="2147471316"/>
            <ac:spMk id="27" creationId="{DB1E7D2A-B53B-4176-A21C-5746E493211E}"/>
          </ac:spMkLst>
        </pc:spChg>
        <pc:spChg chg="del">
          <ac:chgData name="Jason Madden" userId="bc5fc663-4acf-4c70-beae-e4d4354e4ea1" providerId="ADAL" clId="{9242D02F-3850-469A-9E84-08401F66F885}" dt="2022-11-22T22:55:18.108" v="1432"/>
          <ac:spMkLst>
            <pc:docMk/>
            <pc:sldMk cId="3029628369" sldId="2147471316"/>
            <ac:spMk id="28" creationId="{3C4D0C29-1268-4B83-B4A8-D33AC63E9A39}"/>
          </ac:spMkLst>
        </pc:spChg>
        <pc:spChg chg="del">
          <ac:chgData name="Jason Madden" userId="bc5fc663-4acf-4c70-beae-e4d4354e4ea1" providerId="ADAL" clId="{9242D02F-3850-469A-9E84-08401F66F885}" dt="2022-11-22T22:55:18.092" v="1426"/>
          <ac:spMkLst>
            <pc:docMk/>
            <pc:sldMk cId="3029628369" sldId="2147471316"/>
            <ac:spMk id="29" creationId="{3656453E-1C44-43E1-B37C-E6D744BFDA29}"/>
          </ac:spMkLst>
        </pc:spChg>
        <pc:spChg chg="del">
          <ac:chgData name="Jason Madden" userId="bc5fc663-4acf-4c70-beae-e4d4354e4ea1" providerId="ADAL" clId="{9242D02F-3850-469A-9E84-08401F66F885}" dt="2022-11-22T22:55:18.092" v="1428"/>
          <ac:spMkLst>
            <pc:docMk/>
            <pc:sldMk cId="3029628369" sldId="2147471316"/>
            <ac:spMk id="30" creationId="{02C1B462-A3DB-4152-BB85-CF617808191E}"/>
          </ac:spMkLst>
        </pc:spChg>
        <pc:spChg chg="del">
          <ac:chgData name="Jason Madden" userId="bc5fc663-4acf-4c70-beae-e4d4354e4ea1" providerId="ADAL" clId="{9242D02F-3850-469A-9E84-08401F66F885}" dt="2022-11-22T22:55:18.092" v="1422"/>
          <ac:spMkLst>
            <pc:docMk/>
            <pc:sldMk cId="3029628369" sldId="2147471316"/>
            <ac:spMk id="31" creationId="{BEE45FC8-515C-4A57-A7F8-09B59203B3B2}"/>
          </ac:spMkLst>
        </pc:spChg>
        <pc:spChg chg="del">
          <ac:chgData name="Jason Madden" userId="bc5fc663-4acf-4c70-beae-e4d4354e4ea1" providerId="ADAL" clId="{9242D02F-3850-469A-9E84-08401F66F885}" dt="2022-11-22T22:55:18.092" v="1424"/>
          <ac:spMkLst>
            <pc:docMk/>
            <pc:sldMk cId="3029628369" sldId="2147471316"/>
            <ac:spMk id="32" creationId="{7A9E2654-A55A-4EA4-A54D-32315A3DD902}"/>
          </ac:spMkLst>
        </pc:spChg>
        <pc:spChg chg="del">
          <ac:chgData name="Jason Madden" userId="bc5fc663-4acf-4c70-beae-e4d4354e4ea1" providerId="ADAL" clId="{9242D02F-3850-469A-9E84-08401F66F885}" dt="2022-11-22T22:55:18.092" v="1398"/>
          <ac:spMkLst>
            <pc:docMk/>
            <pc:sldMk cId="3029628369" sldId="2147471316"/>
            <ac:spMk id="33" creationId="{FA99555B-A84B-425C-AAAE-24C2275498C4}"/>
          </ac:spMkLst>
        </pc:spChg>
        <pc:spChg chg="del">
          <ac:chgData name="Jason Madden" userId="bc5fc663-4acf-4c70-beae-e4d4354e4ea1" providerId="ADAL" clId="{9242D02F-3850-469A-9E84-08401F66F885}" dt="2022-11-22T22:55:18.092" v="1400"/>
          <ac:spMkLst>
            <pc:docMk/>
            <pc:sldMk cId="3029628369" sldId="2147471316"/>
            <ac:spMk id="34" creationId="{48768249-2F31-424F-B22A-58FEAB36EACD}"/>
          </ac:spMkLst>
        </pc:spChg>
        <pc:spChg chg="del">
          <ac:chgData name="Jason Madden" userId="bc5fc663-4acf-4c70-beae-e4d4354e4ea1" providerId="ADAL" clId="{9242D02F-3850-469A-9E84-08401F66F885}" dt="2022-11-22T22:55:18.092" v="1418"/>
          <ac:spMkLst>
            <pc:docMk/>
            <pc:sldMk cId="3029628369" sldId="2147471316"/>
            <ac:spMk id="35" creationId="{F6EF5318-E678-411A-91CF-2B8637326813}"/>
          </ac:spMkLst>
        </pc:spChg>
        <pc:spChg chg="del">
          <ac:chgData name="Jason Madden" userId="bc5fc663-4acf-4c70-beae-e4d4354e4ea1" providerId="ADAL" clId="{9242D02F-3850-469A-9E84-08401F66F885}" dt="2022-11-22T22:55:18.092" v="1420"/>
          <ac:spMkLst>
            <pc:docMk/>
            <pc:sldMk cId="3029628369" sldId="2147471316"/>
            <ac:spMk id="36" creationId="{DFDAE55A-8BD7-46C2-8618-28588102AAD4}"/>
          </ac:spMkLst>
        </pc:spChg>
        <pc:spChg chg="del">
          <ac:chgData name="Jason Madden" userId="bc5fc663-4acf-4c70-beae-e4d4354e4ea1" providerId="ADAL" clId="{9242D02F-3850-469A-9E84-08401F66F885}" dt="2022-11-22T22:55:18.092" v="1412"/>
          <ac:spMkLst>
            <pc:docMk/>
            <pc:sldMk cId="3029628369" sldId="2147471316"/>
            <ac:spMk id="37" creationId="{F288B891-7EE7-45BC-BD35-EDA05B29759F}"/>
          </ac:spMkLst>
        </pc:spChg>
        <pc:spChg chg="del">
          <ac:chgData name="Jason Madden" userId="bc5fc663-4acf-4c70-beae-e4d4354e4ea1" providerId="ADAL" clId="{9242D02F-3850-469A-9E84-08401F66F885}" dt="2022-11-22T22:55:18.092" v="1414"/>
          <ac:spMkLst>
            <pc:docMk/>
            <pc:sldMk cId="3029628369" sldId="2147471316"/>
            <ac:spMk id="38" creationId="{39E29B3F-607B-4C1B-9B35-464E38592A37}"/>
          </ac:spMkLst>
        </pc:spChg>
        <pc:spChg chg="del">
          <ac:chgData name="Jason Madden" userId="bc5fc663-4acf-4c70-beae-e4d4354e4ea1" providerId="ADAL" clId="{9242D02F-3850-469A-9E84-08401F66F885}" dt="2022-11-22T22:55:18.092" v="1408"/>
          <ac:spMkLst>
            <pc:docMk/>
            <pc:sldMk cId="3029628369" sldId="2147471316"/>
            <ac:spMk id="39" creationId="{D3CC0624-341B-4204-B1C2-5CE205CF1125}"/>
          </ac:spMkLst>
        </pc:spChg>
        <pc:spChg chg="del">
          <ac:chgData name="Jason Madden" userId="bc5fc663-4acf-4c70-beae-e4d4354e4ea1" providerId="ADAL" clId="{9242D02F-3850-469A-9E84-08401F66F885}" dt="2022-11-22T22:55:18.092" v="1410"/>
          <ac:spMkLst>
            <pc:docMk/>
            <pc:sldMk cId="3029628369" sldId="2147471316"/>
            <ac:spMk id="40" creationId="{C5556521-CFDC-48D3-9B49-3B844A076B96}"/>
          </ac:spMkLst>
        </pc:spChg>
        <pc:spChg chg="del">
          <ac:chgData name="Jason Madden" userId="bc5fc663-4acf-4c70-beae-e4d4354e4ea1" providerId="ADAL" clId="{9242D02F-3850-469A-9E84-08401F66F885}" dt="2022-11-22T22:55:18.092" v="1404"/>
          <ac:spMkLst>
            <pc:docMk/>
            <pc:sldMk cId="3029628369" sldId="2147471316"/>
            <ac:spMk id="41" creationId="{4A088A4F-1480-40D6-A0C7-DA6563E7C39F}"/>
          </ac:spMkLst>
        </pc:spChg>
        <pc:spChg chg="del">
          <ac:chgData name="Jason Madden" userId="bc5fc663-4acf-4c70-beae-e4d4354e4ea1" providerId="ADAL" clId="{9242D02F-3850-469A-9E84-08401F66F885}" dt="2022-11-22T22:55:18.092" v="1406"/>
          <ac:spMkLst>
            <pc:docMk/>
            <pc:sldMk cId="3029628369" sldId="2147471316"/>
            <ac:spMk id="42" creationId="{617D1385-F2BC-4ACA-8CC0-8EE1811A9051}"/>
          </ac:spMkLst>
        </pc:spChg>
        <pc:spChg chg="del">
          <ac:chgData name="Jason Madden" userId="bc5fc663-4acf-4c70-beae-e4d4354e4ea1" providerId="ADAL" clId="{9242D02F-3850-469A-9E84-08401F66F885}" dt="2022-11-22T22:55:18.085" v="1394"/>
          <ac:spMkLst>
            <pc:docMk/>
            <pc:sldMk cId="3029628369" sldId="2147471316"/>
            <ac:spMk id="43" creationId="{2E1BDB4A-7F60-4D78-B966-301909CCB3D6}"/>
          </ac:spMkLst>
        </pc:spChg>
        <pc:spChg chg="del">
          <ac:chgData name="Jason Madden" userId="bc5fc663-4acf-4c70-beae-e4d4354e4ea1" providerId="ADAL" clId="{9242D02F-3850-469A-9E84-08401F66F885}" dt="2022-11-22T22:55:18.092" v="1396"/>
          <ac:spMkLst>
            <pc:docMk/>
            <pc:sldMk cId="3029628369" sldId="2147471316"/>
            <ac:spMk id="44" creationId="{F5DB432B-8086-42C5-B978-D6E8E5391044}"/>
          </ac:spMkLst>
        </pc:spChg>
        <pc:spChg chg="del">
          <ac:chgData name="Jason Madden" userId="bc5fc663-4acf-4c70-beae-e4d4354e4ea1" providerId="ADAL" clId="{9242D02F-3850-469A-9E84-08401F66F885}" dt="2022-11-22T22:55:18.092" v="1402"/>
          <ac:spMkLst>
            <pc:docMk/>
            <pc:sldMk cId="3029628369" sldId="2147471316"/>
            <ac:spMk id="45" creationId="{9577336D-5043-47F8-8302-B42566E3E979}"/>
          </ac:spMkLst>
        </pc:spChg>
        <pc:spChg chg="add mod replST">
          <ac:chgData name="Jason Madden" userId="bc5fc663-4acf-4c70-beae-e4d4354e4ea1" providerId="ADAL" clId="{9242D02F-3850-469A-9E84-08401F66F885}" dt="2022-11-22T22:55:18.824" v="1497"/>
          <ac:spMkLst>
            <pc:docMk/>
            <pc:sldMk cId="3029628369" sldId="2147471316"/>
            <ac:spMk id="46" creationId="{1D253114-D19C-38E9-B76F-E66EF042E0A6}"/>
          </ac:spMkLst>
        </pc:spChg>
        <pc:spChg chg="add mod replST">
          <ac:chgData name="Jason Madden" userId="bc5fc663-4acf-4c70-beae-e4d4354e4ea1" providerId="ADAL" clId="{9242D02F-3850-469A-9E84-08401F66F885}" dt="2022-11-22T22:55:18.824" v="1496"/>
          <ac:spMkLst>
            <pc:docMk/>
            <pc:sldMk cId="3029628369" sldId="2147471316"/>
            <ac:spMk id="47" creationId="{BED5F91E-D9C2-3A04-E38A-1B6E7B92F0F8}"/>
          </ac:spMkLst>
        </pc:spChg>
        <pc:spChg chg="add mod">
          <ac:chgData name="Jason Madden" userId="bc5fc663-4acf-4c70-beae-e4d4354e4ea1" providerId="ADAL" clId="{9242D02F-3850-469A-9E84-08401F66F885}" dt="2022-11-22T22:55:18.793" v="1493"/>
          <ac:spMkLst>
            <pc:docMk/>
            <pc:sldMk cId="3029628369" sldId="2147471316"/>
            <ac:spMk id="48" creationId="{83A77547-4C7A-3A5D-6D91-6239187661BE}"/>
          </ac:spMkLst>
        </pc:spChg>
        <pc:spChg chg="add mod replST">
          <ac:chgData name="Jason Madden" userId="bc5fc663-4acf-4c70-beae-e4d4354e4ea1" providerId="ADAL" clId="{9242D02F-3850-469A-9E84-08401F66F885}" dt="2022-11-22T22:55:18.824" v="1499"/>
          <ac:spMkLst>
            <pc:docMk/>
            <pc:sldMk cId="3029628369" sldId="2147471316"/>
            <ac:spMk id="49" creationId="{4DFC6B27-1778-3BCD-45F8-3703B086011E}"/>
          </ac:spMkLst>
        </pc:spChg>
        <pc:spChg chg="add mod replST">
          <ac:chgData name="Jason Madden" userId="bc5fc663-4acf-4c70-beae-e4d4354e4ea1" providerId="ADAL" clId="{9242D02F-3850-469A-9E84-08401F66F885}" dt="2022-11-22T22:55:18.824" v="1498"/>
          <ac:spMkLst>
            <pc:docMk/>
            <pc:sldMk cId="3029628369" sldId="2147471316"/>
            <ac:spMk id="50" creationId="{15A02EA4-5694-59AA-3B9B-924997666459}"/>
          </ac:spMkLst>
        </pc:spChg>
        <pc:spChg chg="add mod replST">
          <ac:chgData name="Jason Madden" userId="bc5fc663-4acf-4c70-beae-e4d4354e4ea1" providerId="ADAL" clId="{9242D02F-3850-469A-9E84-08401F66F885}" dt="2022-11-22T22:55:18.824" v="1501"/>
          <ac:spMkLst>
            <pc:docMk/>
            <pc:sldMk cId="3029628369" sldId="2147471316"/>
            <ac:spMk id="51" creationId="{DE249E7B-C08D-ACDD-7174-C893EFFB8367}"/>
          </ac:spMkLst>
        </pc:spChg>
        <pc:spChg chg="add mod replST">
          <ac:chgData name="Jason Madden" userId="bc5fc663-4acf-4c70-beae-e4d4354e4ea1" providerId="ADAL" clId="{9242D02F-3850-469A-9E84-08401F66F885}" dt="2022-11-22T22:55:18.824" v="1500"/>
          <ac:spMkLst>
            <pc:docMk/>
            <pc:sldMk cId="3029628369" sldId="2147471316"/>
            <ac:spMk id="52" creationId="{22FC76AB-2370-3A1A-138A-9059CCC08E77}"/>
          </ac:spMkLst>
        </pc:spChg>
        <pc:spChg chg="add mod replST">
          <ac:chgData name="Jason Madden" userId="bc5fc663-4acf-4c70-beae-e4d4354e4ea1" providerId="ADAL" clId="{9242D02F-3850-469A-9E84-08401F66F885}" dt="2022-11-22T22:55:18.840" v="1503"/>
          <ac:spMkLst>
            <pc:docMk/>
            <pc:sldMk cId="3029628369" sldId="2147471316"/>
            <ac:spMk id="53" creationId="{4C85652A-DC2B-64A8-B1BA-27A667A49F1A}"/>
          </ac:spMkLst>
        </pc:spChg>
        <pc:spChg chg="add mod replST">
          <ac:chgData name="Jason Madden" userId="bc5fc663-4acf-4c70-beae-e4d4354e4ea1" providerId="ADAL" clId="{9242D02F-3850-469A-9E84-08401F66F885}" dt="2022-11-22T22:55:18.824" v="1502"/>
          <ac:spMkLst>
            <pc:docMk/>
            <pc:sldMk cId="3029628369" sldId="2147471316"/>
            <ac:spMk id="54" creationId="{60B81B87-609D-4CB3-D35B-549B0A80D1EE}"/>
          </ac:spMkLst>
        </pc:spChg>
        <pc:spChg chg="add mod replST">
          <ac:chgData name="Jason Madden" userId="bc5fc663-4acf-4c70-beae-e4d4354e4ea1" providerId="ADAL" clId="{9242D02F-3850-469A-9E84-08401F66F885}" dt="2022-11-22T22:55:18.840" v="1505"/>
          <ac:spMkLst>
            <pc:docMk/>
            <pc:sldMk cId="3029628369" sldId="2147471316"/>
            <ac:spMk id="55" creationId="{589715BA-5764-3DB5-33D7-F3A029A27A3B}"/>
          </ac:spMkLst>
        </pc:spChg>
        <pc:spChg chg="add mod replST">
          <ac:chgData name="Jason Madden" userId="bc5fc663-4acf-4c70-beae-e4d4354e4ea1" providerId="ADAL" clId="{9242D02F-3850-469A-9E84-08401F66F885}" dt="2022-11-22T22:55:18.840" v="1504"/>
          <ac:spMkLst>
            <pc:docMk/>
            <pc:sldMk cId="3029628369" sldId="2147471316"/>
            <ac:spMk id="56" creationId="{4E625C29-07B3-00BA-7BD5-DD915AE13423}"/>
          </ac:spMkLst>
        </pc:spChg>
        <pc:spChg chg="add mod replST">
          <ac:chgData name="Jason Madden" userId="bc5fc663-4acf-4c70-beae-e4d4354e4ea1" providerId="ADAL" clId="{9242D02F-3850-469A-9E84-08401F66F885}" dt="2022-11-22T22:55:18.840" v="1507"/>
          <ac:spMkLst>
            <pc:docMk/>
            <pc:sldMk cId="3029628369" sldId="2147471316"/>
            <ac:spMk id="57" creationId="{AA72044D-9273-4615-62BD-BE02336E071F}"/>
          </ac:spMkLst>
        </pc:spChg>
        <pc:spChg chg="add mod replST">
          <ac:chgData name="Jason Madden" userId="bc5fc663-4acf-4c70-beae-e4d4354e4ea1" providerId="ADAL" clId="{9242D02F-3850-469A-9E84-08401F66F885}" dt="2022-11-22T22:55:18.840" v="1506"/>
          <ac:spMkLst>
            <pc:docMk/>
            <pc:sldMk cId="3029628369" sldId="2147471316"/>
            <ac:spMk id="58" creationId="{94FCFCBC-CBF1-95A7-E95E-16F0114B4CAF}"/>
          </ac:spMkLst>
        </pc:spChg>
        <pc:spChg chg="add mod replST">
          <ac:chgData name="Jason Madden" userId="bc5fc663-4acf-4c70-beae-e4d4354e4ea1" providerId="ADAL" clId="{9242D02F-3850-469A-9E84-08401F66F885}" dt="2022-11-22T22:55:18.840" v="1509"/>
          <ac:spMkLst>
            <pc:docMk/>
            <pc:sldMk cId="3029628369" sldId="2147471316"/>
            <ac:spMk id="59" creationId="{B0B39AEE-9167-81C2-2C7D-E8CC141E83A5}"/>
          </ac:spMkLst>
        </pc:spChg>
        <pc:spChg chg="add mod replST">
          <ac:chgData name="Jason Madden" userId="bc5fc663-4acf-4c70-beae-e4d4354e4ea1" providerId="ADAL" clId="{9242D02F-3850-469A-9E84-08401F66F885}" dt="2022-11-22T22:55:18.840" v="1508"/>
          <ac:spMkLst>
            <pc:docMk/>
            <pc:sldMk cId="3029628369" sldId="2147471316"/>
            <ac:spMk id="60" creationId="{7F006654-2281-8DC1-1204-415473ADE3A2}"/>
          </ac:spMkLst>
        </pc:spChg>
        <pc:spChg chg="add mod replST">
          <ac:chgData name="Jason Madden" userId="bc5fc663-4acf-4c70-beae-e4d4354e4ea1" providerId="ADAL" clId="{9242D02F-3850-469A-9E84-08401F66F885}" dt="2022-11-22T22:55:18.840" v="1511"/>
          <ac:spMkLst>
            <pc:docMk/>
            <pc:sldMk cId="3029628369" sldId="2147471316"/>
            <ac:spMk id="61" creationId="{1C531728-7A16-2ABE-A5BC-DABE126DD6FE}"/>
          </ac:spMkLst>
        </pc:spChg>
        <pc:spChg chg="add mod replST">
          <ac:chgData name="Jason Madden" userId="bc5fc663-4acf-4c70-beae-e4d4354e4ea1" providerId="ADAL" clId="{9242D02F-3850-469A-9E84-08401F66F885}" dt="2022-11-22T22:55:18.840" v="1510"/>
          <ac:spMkLst>
            <pc:docMk/>
            <pc:sldMk cId="3029628369" sldId="2147471316"/>
            <ac:spMk id="62" creationId="{490E907F-1438-8A33-9C7F-4D041C34C48F}"/>
          </ac:spMkLst>
        </pc:spChg>
        <pc:spChg chg="add mod replST">
          <ac:chgData name="Jason Madden" userId="bc5fc663-4acf-4c70-beae-e4d4354e4ea1" providerId="ADAL" clId="{9242D02F-3850-469A-9E84-08401F66F885}" dt="2022-11-22T22:55:18.840" v="1513"/>
          <ac:spMkLst>
            <pc:docMk/>
            <pc:sldMk cId="3029628369" sldId="2147471316"/>
            <ac:spMk id="63" creationId="{265C77D4-03D4-B297-95FF-F9A8B2B5EE29}"/>
          </ac:spMkLst>
        </pc:spChg>
        <pc:spChg chg="add mod replST">
          <ac:chgData name="Jason Madden" userId="bc5fc663-4acf-4c70-beae-e4d4354e4ea1" providerId="ADAL" clId="{9242D02F-3850-469A-9E84-08401F66F885}" dt="2022-11-22T22:55:18.840" v="1512"/>
          <ac:spMkLst>
            <pc:docMk/>
            <pc:sldMk cId="3029628369" sldId="2147471316"/>
            <ac:spMk id="64" creationId="{F473A81E-CEEC-7C55-25B4-1D8F1D9892D9}"/>
          </ac:spMkLst>
        </pc:spChg>
        <pc:spChg chg="add mod replST">
          <ac:chgData name="Jason Madden" userId="bc5fc663-4acf-4c70-beae-e4d4354e4ea1" providerId="ADAL" clId="{9242D02F-3850-469A-9E84-08401F66F885}" dt="2022-11-22T22:55:18.840" v="1515"/>
          <ac:spMkLst>
            <pc:docMk/>
            <pc:sldMk cId="3029628369" sldId="2147471316"/>
            <ac:spMk id="65" creationId="{19413CFC-1577-ACCA-CEA5-900C1C6EAF9C}"/>
          </ac:spMkLst>
        </pc:spChg>
        <pc:spChg chg="add mod replST">
          <ac:chgData name="Jason Madden" userId="bc5fc663-4acf-4c70-beae-e4d4354e4ea1" providerId="ADAL" clId="{9242D02F-3850-469A-9E84-08401F66F885}" dt="2022-11-22T22:55:18.840" v="1514"/>
          <ac:spMkLst>
            <pc:docMk/>
            <pc:sldMk cId="3029628369" sldId="2147471316"/>
            <ac:spMk id="66" creationId="{DE32215C-C7B7-A50E-5D00-7C83363958C3}"/>
          </ac:spMkLst>
        </pc:spChg>
        <pc:spChg chg="add mod replST">
          <ac:chgData name="Jason Madden" userId="bc5fc663-4acf-4c70-beae-e4d4354e4ea1" providerId="ADAL" clId="{9242D02F-3850-469A-9E84-08401F66F885}" dt="2022-11-22T22:55:18.840" v="1517"/>
          <ac:spMkLst>
            <pc:docMk/>
            <pc:sldMk cId="3029628369" sldId="2147471316"/>
            <ac:spMk id="67" creationId="{2323110A-A97F-70DB-D02E-CCF44B5CBBF4}"/>
          </ac:spMkLst>
        </pc:spChg>
        <pc:spChg chg="add mod replST">
          <ac:chgData name="Jason Madden" userId="bc5fc663-4acf-4c70-beae-e4d4354e4ea1" providerId="ADAL" clId="{9242D02F-3850-469A-9E84-08401F66F885}" dt="2022-11-22T22:55:18.840" v="1516"/>
          <ac:spMkLst>
            <pc:docMk/>
            <pc:sldMk cId="3029628369" sldId="2147471316"/>
            <ac:spMk id="68" creationId="{764B0F82-36F7-9A3B-21A4-6F86170C81CC}"/>
          </ac:spMkLst>
        </pc:spChg>
        <pc:spChg chg="add mod replST">
          <ac:chgData name="Jason Madden" userId="bc5fc663-4acf-4c70-beae-e4d4354e4ea1" providerId="ADAL" clId="{9242D02F-3850-469A-9E84-08401F66F885}" dt="2022-11-22T22:55:18.840" v="1519"/>
          <ac:spMkLst>
            <pc:docMk/>
            <pc:sldMk cId="3029628369" sldId="2147471316"/>
            <ac:spMk id="69" creationId="{B16FA502-3E58-B266-13C1-DC868551A4C7}"/>
          </ac:spMkLst>
        </pc:spChg>
        <pc:spChg chg="add mod replST">
          <ac:chgData name="Jason Madden" userId="bc5fc663-4acf-4c70-beae-e4d4354e4ea1" providerId="ADAL" clId="{9242D02F-3850-469A-9E84-08401F66F885}" dt="2022-11-22T22:55:18.840" v="1518"/>
          <ac:spMkLst>
            <pc:docMk/>
            <pc:sldMk cId="3029628369" sldId="2147471316"/>
            <ac:spMk id="70" creationId="{235A3B7F-F922-2AB7-528A-A75A7445D87E}"/>
          </ac:spMkLst>
        </pc:spChg>
        <pc:spChg chg="add mod replST">
          <ac:chgData name="Jason Madden" userId="bc5fc663-4acf-4c70-beae-e4d4354e4ea1" providerId="ADAL" clId="{9242D02F-3850-469A-9E84-08401F66F885}" dt="2022-11-22T22:55:18.840" v="1520"/>
          <ac:spMkLst>
            <pc:docMk/>
            <pc:sldMk cId="3029628369" sldId="2147471316"/>
            <ac:spMk id="71" creationId="{85EC4EE0-A677-0338-BFFA-6EAA9949C24A}"/>
          </ac:spMkLst>
        </pc:spChg>
        <pc:spChg chg="add mod">
          <ac:chgData name="Jason Madden" userId="bc5fc663-4acf-4c70-beae-e4d4354e4ea1" providerId="ADAL" clId="{9242D02F-3850-469A-9E84-08401F66F885}" dt="2022-11-22T22:55:18.793" v="1493"/>
          <ac:spMkLst>
            <pc:docMk/>
            <pc:sldMk cId="3029628369" sldId="2147471316"/>
            <ac:spMk id="72" creationId="{CAB51E61-AE19-02F0-3B16-03F7CCD2D284}"/>
          </ac:spMkLst>
        </pc:spChg>
        <pc:spChg chg="add mod">
          <ac:chgData name="Jason Madden" userId="bc5fc663-4acf-4c70-beae-e4d4354e4ea1" providerId="ADAL" clId="{9242D02F-3850-469A-9E84-08401F66F885}" dt="2022-11-22T22:55:18.793" v="1493"/>
          <ac:spMkLst>
            <pc:docMk/>
            <pc:sldMk cId="3029628369" sldId="2147471316"/>
            <ac:spMk id="79" creationId="{FF1F22BC-DCEA-A010-DFD6-465031DA30A3}"/>
          </ac:spMkLst>
        </pc:spChg>
        <pc:graphicFrameChg chg="del">
          <ac:chgData name="Jason Madden" userId="bc5fc663-4acf-4c70-beae-e4d4354e4ea1" providerId="ADAL" clId="{9242D02F-3850-469A-9E84-08401F66F885}" dt="2022-11-22T22:55:18.070" v="1384"/>
          <ac:graphicFrameMkLst>
            <pc:docMk/>
            <pc:sldMk cId="3029628369" sldId="2147471316"/>
            <ac:graphicFrameMk id="5" creationId="{54ACC98F-FCBB-48CE-8F70-8D13F7E22E42}"/>
          </ac:graphicFrameMkLst>
        </pc:graphicFrameChg>
        <pc:graphicFrameChg chg="mod">
          <ac:chgData name="Jason Madden" userId="bc5fc663-4acf-4c70-beae-e4d4354e4ea1" providerId="ADAL" clId="{9242D02F-3850-469A-9E84-08401F66F885}" dt="2022-11-22T22:55:18.855" v="1525"/>
          <ac:graphicFrameMkLst>
            <pc:docMk/>
            <pc:sldMk cId="3029628369" sldId="2147471316"/>
            <ac:graphicFrameMk id="15" creationId="{45FBD9AD-B35F-4EF8-82DB-3BEF8883EDCA}"/>
          </ac:graphicFrameMkLst>
        </pc:graphicFrameChg>
        <pc:graphicFrameChg chg="add mod">
          <ac:chgData name="Jason Madden" userId="bc5fc663-4acf-4c70-beae-e4d4354e4ea1" providerId="ADAL" clId="{9242D02F-3850-469A-9E84-08401F66F885}" dt="2022-11-22T22:55:18.793" v="1493"/>
          <ac:graphicFrameMkLst>
            <pc:docMk/>
            <pc:sldMk cId="3029628369" sldId="2147471316"/>
            <ac:graphicFrameMk id="17" creationId="{C2015DEC-E7F9-D045-14B8-41CAA7F1C84E}"/>
          </ac:graphicFrameMkLst>
        </pc:graphicFrameChg>
        <pc:picChg chg="add mod">
          <ac:chgData name="Jason Madden" userId="bc5fc663-4acf-4c70-beae-e4d4354e4ea1" providerId="ADAL" clId="{9242D02F-3850-469A-9E84-08401F66F885}" dt="2022-11-22T22:55:18.793" v="1493"/>
          <ac:picMkLst>
            <pc:docMk/>
            <pc:sldMk cId="3029628369" sldId="2147471316"/>
            <ac:picMk id="73" creationId="{A00DB3F8-E492-F3F7-99D9-BA623A9AB1D4}"/>
          </ac:picMkLst>
        </pc:picChg>
        <pc:picChg chg="add mod">
          <ac:chgData name="Jason Madden" userId="bc5fc663-4acf-4c70-beae-e4d4354e4ea1" providerId="ADAL" clId="{9242D02F-3850-469A-9E84-08401F66F885}" dt="2022-11-22T22:55:18.793" v="1493"/>
          <ac:picMkLst>
            <pc:docMk/>
            <pc:sldMk cId="3029628369" sldId="2147471316"/>
            <ac:picMk id="74" creationId="{37BEB62B-A42F-92D5-681B-0C87B1469B06}"/>
          </ac:picMkLst>
        </pc:picChg>
        <pc:picChg chg="add mod">
          <ac:chgData name="Jason Madden" userId="bc5fc663-4acf-4c70-beae-e4d4354e4ea1" providerId="ADAL" clId="{9242D02F-3850-469A-9E84-08401F66F885}" dt="2022-11-22T22:55:18.793" v="1493"/>
          <ac:picMkLst>
            <pc:docMk/>
            <pc:sldMk cId="3029628369" sldId="2147471316"/>
            <ac:picMk id="75" creationId="{D5A742F2-8F27-5D6D-7E32-41D7A2EC9664}"/>
          </ac:picMkLst>
        </pc:picChg>
        <pc:picChg chg="add mod">
          <ac:chgData name="Jason Madden" userId="bc5fc663-4acf-4c70-beae-e4d4354e4ea1" providerId="ADAL" clId="{9242D02F-3850-469A-9E84-08401F66F885}" dt="2022-11-22T22:55:18.793" v="1493"/>
          <ac:picMkLst>
            <pc:docMk/>
            <pc:sldMk cId="3029628369" sldId="2147471316"/>
            <ac:picMk id="76" creationId="{A3EB50EC-CD50-A1C5-E00B-0194E5CD1F14}"/>
          </ac:picMkLst>
        </pc:picChg>
        <pc:picChg chg="add mod">
          <ac:chgData name="Jason Madden" userId="bc5fc663-4acf-4c70-beae-e4d4354e4ea1" providerId="ADAL" clId="{9242D02F-3850-469A-9E84-08401F66F885}" dt="2022-11-22T22:55:18.793" v="1493"/>
          <ac:picMkLst>
            <pc:docMk/>
            <pc:sldMk cId="3029628369" sldId="2147471316"/>
            <ac:picMk id="77" creationId="{DC4B5C65-5AA8-2521-499B-8BAFD9D0E202}"/>
          </ac:picMkLst>
        </pc:picChg>
        <pc:picChg chg="add mod">
          <ac:chgData name="Jason Madden" userId="bc5fc663-4acf-4c70-beae-e4d4354e4ea1" providerId="ADAL" clId="{9242D02F-3850-469A-9E84-08401F66F885}" dt="2022-11-22T22:55:18.793" v="1493"/>
          <ac:picMkLst>
            <pc:docMk/>
            <pc:sldMk cId="3029628369" sldId="2147471316"/>
            <ac:picMk id="78" creationId="{2B1F2871-0233-316B-591A-7755F5B76421}"/>
          </ac:picMkLst>
        </pc:picChg>
      </pc:sldChg>
      <pc:sldChg chg="addSp delSp modSp mod">
        <pc:chgData name="Jason Madden" userId="bc5fc663-4acf-4c70-beae-e4d4354e4ea1" providerId="ADAL" clId="{9242D02F-3850-469A-9E84-08401F66F885}" dt="2022-11-22T21:56:59.070" v="762"/>
        <pc:sldMkLst>
          <pc:docMk/>
          <pc:sldMk cId="4294755502" sldId="2147471317"/>
        </pc:sldMkLst>
        <pc:spChg chg="mod">
          <ac:chgData name="Jason Madden" userId="bc5fc663-4acf-4c70-beae-e4d4354e4ea1" providerId="ADAL" clId="{9242D02F-3850-469A-9E84-08401F66F885}" dt="2022-11-22T21:56:58.998" v="740" actId="948"/>
          <ac:spMkLst>
            <pc:docMk/>
            <pc:sldMk cId="4294755502" sldId="2147471317"/>
            <ac:spMk id="2" creationId="{880B6967-92C0-BD3C-3026-412D4E2D5758}"/>
          </ac:spMkLst>
        </pc:spChg>
        <pc:spChg chg="add del mod modVis">
          <ac:chgData name="Jason Madden" userId="bc5fc663-4acf-4c70-beae-e4d4354e4ea1" providerId="ADAL" clId="{9242D02F-3850-469A-9E84-08401F66F885}" dt="2022-11-22T21:56:52.358" v="691"/>
          <ac:spMkLst>
            <pc:docMk/>
            <pc:sldMk cId="4294755502" sldId="2147471317"/>
            <ac:spMk id="3" creationId="{4351DB94-6F78-7021-3009-E035FCAC4A32}"/>
          </ac:spMkLst>
        </pc:spChg>
        <pc:spChg chg="mod">
          <ac:chgData name="Jason Madden" userId="bc5fc663-4acf-4c70-beae-e4d4354e4ea1" providerId="ADAL" clId="{9242D02F-3850-469A-9E84-08401F66F885}" dt="2022-11-22T21:56:59.039" v="744"/>
          <ac:spMkLst>
            <pc:docMk/>
            <pc:sldMk cId="4294755502" sldId="2147471317"/>
            <ac:spMk id="24" creationId="{D27E8896-40BB-1DEB-43F8-DEBEB331C5C9}"/>
          </ac:spMkLst>
        </pc:spChg>
        <pc:spChg chg="mod">
          <ac:chgData name="Jason Madden" userId="bc5fc663-4acf-4c70-beae-e4d4354e4ea1" providerId="ADAL" clId="{9242D02F-3850-469A-9E84-08401F66F885}" dt="2022-11-22T21:56:59.056" v="758"/>
          <ac:spMkLst>
            <pc:docMk/>
            <pc:sldMk cId="4294755502" sldId="2147471317"/>
            <ac:spMk id="25" creationId="{4A4EBEEC-E8C5-3CDB-43E8-7041A58E7701}"/>
          </ac:spMkLst>
        </pc:spChg>
        <pc:spChg chg="mod">
          <ac:chgData name="Jason Madden" userId="bc5fc663-4acf-4c70-beae-e4d4354e4ea1" providerId="ADAL" clId="{9242D02F-3850-469A-9E84-08401F66F885}" dt="2022-11-22T21:56:56.460" v="721"/>
          <ac:spMkLst>
            <pc:docMk/>
            <pc:sldMk cId="4294755502" sldId="2147471317"/>
            <ac:spMk id="27" creationId="{3AD9A351-01B0-B44E-FCC0-582719370447}"/>
          </ac:spMkLst>
        </pc:spChg>
        <pc:spChg chg="mod">
          <ac:chgData name="Jason Madden" userId="bc5fc663-4acf-4c70-beae-e4d4354e4ea1" providerId="ADAL" clId="{9242D02F-3850-469A-9E84-08401F66F885}" dt="2022-11-22T21:56:56.469" v="735"/>
          <ac:spMkLst>
            <pc:docMk/>
            <pc:sldMk cId="4294755502" sldId="2147471317"/>
            <ac:spMk id="28" creationId="{6E1F5CE8-338D-9367-5830-1828919958DB}"/>
          </ac:spMkLst>
        </pc:spChg>
        <pc:spChg chg="mod">
          <ac:chgData name="Jason Madden" userId="bc5fc663-4acf-4c70-beae-e4d4354e4ea1" providerId="ADAL" clId="{9242D02F-3850-469A-9E84-08401F66F885}" dt="2022-11-22T21:56:54.288" v="698"/>
          <ac:spMkLst>
            <pc:docMk/>
            <pc:sldMk cId="4294755502" sldId="2147471317"/>
            <ac:spMk id="29" creationId="{D3BFA719-C6D8-715C-74B2-16A63DF3AA94}"/>
          </ac:spMkLst>
        </pc:spChg>
        <pc:spChg chg="mod">
          <ac:chgData name="Jason Madden" userId="bc5fc663-4acf-4c70-beae-e4d4354e4ea1" providerId="ADAL" clId="{9242D02F-3850-469A-9E84-08401F66F885}" dt="2022-11-22T21:56:54.297" v="712"/>
          <ac:spMkLst>
            <pc:docMk/>
            <pc:sldMk cId="4294755502" sldId="2147471317"/>
            <ac:spMk id="30" creationId="{C011DE06-7A16-D72D-E0F1-C4D3E7737FBB}"/>
          </ac:spMkLst>
        </pc:spChg>
        <pc:spChg chg="mod">
          <ac:chgData name="Jason Madden" userId="bc5fc663-4acf-4c70-beae-e4d4354e4ea1" providerId="ADAL" clId="{9242D02F-3850-469A-9E84-08401F66F885}" dt="2022-11-22T21:56:52.352" v="673"/>
          <ac:spMkLst>
            <pc:docMk/>
            <pc:sldMk cId="4294755502" sldId="2147471317"/>
            <ac:spMk id="35" creationId="{9BEB510B-80CD-4F69-8695-0118457E2F95}"/>
          </ac:spMkLst>
        </pc:spChg>
        <pc:spChg chg="mod">
          <ac:chgData name="Jason Madden" userId="bc5fc663-4acf-4c70-beae-e4d4354e4ea1" providerId="ADAL" clId="{9242D02F-3850-469A-9E84-08401F66F885}" dt="2022-11-22T21:56:52.356" v="687"/>
          <ac:spMkLst>
            <pc:docMk/>
            <pc:sldMk cId="4294755502" sldId="2147471317"/>
            <ac:spMk id="36" creationId="{4CE88447-CF08-40F4-A635-CE27730D969D}"/>
          </ac:spMkLst>
        </pc:spChg>
        <pc:graphicFrameChg chg="mod">
          <ac:chgData name="Jason Madden" userId="bc5fc663-4acf-4c70-beae-e4d4354e4ea1" providerId="ADAL" clId="{9242D02F-3850-469A-9E84-08401F66F885}" dt="2022-11-22T21:56:59.070" v="762"/>
          <ac:graphicFrameMkLst>
            <pc:docMk/>
            <pc:sldMk cId="4294755502" sldId="2147471317"/>
            <ac:graphicFrameMk id="5" creationId="{333B682E-8AE0-2722-AFCC-6CE1206A08B9}"/>
          </ac:graphicFrameMkLst>
        </pc:graphicFrameChg>
      </pc:sldChg>
      <pc:sldChg chg="modSp del mod">
        <pc:chgData name="Jason Madden" userId="bc5fc663-4acf-4c70-beae-e4d4354e4ea1" providerId="ADAL" clId="{9242D02F-3850-469A-9E84-08401F66F885}" dt="2022-11-23T03:32:27.901" v="12789" actId="47"/>
        <pc:sldMkLst>
          <pc:docMk/>
          <pc:sldMk cId="2871167043" sldId="2147471326"/>
        </pc:sldMkLst>
        <pc:spChg chg="mod">
          <ac:chgData name="Jason Madden" userId="bc5fc663-4acf-4c70-beae-e4d4354e4ea1" providerId="ADAL" clId="{9242D02F-3850-469A-9E84-08401F66F885}" dt="2022-11-22T23:42:40.085" v="2109" actId="20577"/>
          <ac:spMkLst>
            <pc:docMk/>
            <pc:sldMk cId="2871167043" sldId="2147471326"/>
            <ac:spMk id="12" creationId="{DD3C156D-AC68-4DE9-4BBE-B0AD2CFC3B03}"/>
          </ac:spMkLst>
        </pc:spChg>
      </pc:sldChg>
      <pc:sldChg chg="del">
        <pc:chgData name="Jason Madden" userId="bc5fc663-4acf-4c70-beae-e4d4354e4ea1" providerId="ADAL" clId="{9242D02F-3850-469A-9E84-08401F66F885}" dt="2022-11-22T23:40:21.642" v="1808" actId="47"/>
        <pc:sldMkLst>
          <pc:docMk/>
          <pc:sldMk cId="27450784" sldId="2147471327"/>
        </pc:sldMkLst>
      </pc:sldChg>
      <pc:sldChg chg="addSp delSp modSp mod">
        <pc:chgData name="Jason Madden" userId="bc5fc663-4acf-4c70-beae-e4d4354e4ea1" providerId="ADAL" clId="{9242D02F-3850-469A-9E84-08401F66F885}" dt="2022-11-22T23:48:12.405" v="2185" actId="478"/>
        <pc:sldMkLst>
          <pc:docMk/>
          <pc:sldMk cId="3535271327" sldId="2147471335"/>
        </pc:sldMkLst>
        <pc:spChg chg="del mod">
          <ac:chgData name="Jason Madden" userId="bc5fc663-4acf-4c70-beae-e4d4354e4ea1" providerId="ADAL" clId="{9242D02F-3850-469A-9E84-08401F66F885}" dt="2022-11-22T23:48:12.405" v="2185" actId="478"/>
          <ac:spMkLst>
            <pc:docMk/>
            <pc:sldMk cId="3535271327" sldId="2147471335"/>
            <ac:spMk id="3" creationId="{FE2C5C46-E869-96A4-A6DC-F9691EE66AC3}"/>
          </ac:spMkLst>
        </pc:spChg>
        <pc:picChg chg="add mod">
          <ac:chgData name="Jason Madden" userId="bc5fc663-4acf-4c70-beae-e4d4354e4ea1" providerId="ADAL" clId="{9242D02F-3850-469A-9E84-08401F66F885}" dt="2022-11-22T23:47:02.845" v="2169" actId="1076"/>
          <ac:picMkLst>
            <pc:docMk/>
            <pc:sldMk cId="3535271327" sldId="2147471335"/>
            <ac:picMk id="7" creationId="{5D477FAC-D130-D0DA-CA71-F5F3FF690F5E}"/>
          </ac:picMkLst>
        </pc:picChg>
        <pc:picChg chg="del">
          <ac:chgData name="Jason Madden" userId="bc5fc663-4acf-4c70-beae-e4d4354e4ea1" providerId="ADAL" clId="{9242D02F-3850-469A-9E84-08401F66F885}" dt="2022-11-22T23:46:05.669" v="2152" actId="478"/>
          <ac:picMkLst>
            <pc:docMk/>
            <pc:sldMk cId="3535271327" sldId="2147471335"/>
            <ac:picMk id="8" creationId="{A43E427C-1748-4799-A541-73AB4D906AA3}"/>
          </ac:picMkLst>
        </pc:picChg>
        <pc:picChg chg="add mod">
          <ac:chgData name="Jason Madden" userId="bc5fc663-4acf-4c70-beae-e4d4354e4ea1" providerId="ADAL" clId="{9242D02F-3850-469A-9E84-08401F66F885}" dt="2022-11-22T23:46:49.387" v="2165" actId="14100"/>
          <ac:picMkLst>
            <pc:docMk/>
            <pc:sldMk cId="3535271327" sldId="2147471335"/>
            <ac:picMk id="10" creationId="{FE28E40D-F1D1-0E51-513D-6760D447FCDF}"/>
          </ac:picMkLst>
        </pc:picChg>
        <pc:picChg chg="add mod">
          <ac:chgData name="Jason Madden" userId="bc5fc663-4acf-4c70-beae-e4d4354e4ea1" providerId="ADAL" clId="{9242D02F-3850-469A-9E84-08401F66F885}" dt="2022-11-22T23:47:12.173" v="2172" actId="14100"/>
          <ac:picMkLst>
            <pc:docMk/>
            <pc:sldMk cId="3535271327" sldId="2147471335"/>
            <ac:picMk id="11" creationId="{E562BE0D-074E-353D-9F4C-5761EFD64363}"/>
          </ac:picMkLst>
        </pc:picChg>
        <pc:picChg chg="add del mod">
          <ac:chgData name="Jason Madden" userId="bc5fc663-4acf-4c70-beae-e4d4354e4ea1" providerId="ADAL" clId="{9242D02F-3850-469A-9E84-08401F66F885}" dt="2022-11-22T23:47:37.213" v="2176" actId="478"/>
          <ac:picMkLst>
            <pc:docMk/>
            <pc:sldMk cId="3535271327" sldId="2147471335"/>
            <ac:picMk id="12" creationId="{304B44EE-5941-5CAC-EFA5-AB9906DC3CDD}"/>
          </ac:picMkLst>
        </pc:picChg>
        <pc:picChg chg="add del mod">
          <ac:chgData name="Jason Madden" userId="bc5fc663-4acf-4c70-beae-e4d4354e4ea1" providerId="ADAL" clId="{9242D02F-3850-469A-9E84-08401F66F885}" dt="2022-11-22T23:47:50.030" v="2180" actId="478"/>
          <ac:picMkLst>
            <pc:docMk/>
            <pc:sldMk cId="3535271327" sldId="2147471335"/>
            <ac:picMk id="13" creationId="{B634D469-33DE-FA81-FD81-8F45F026890C}"/>
          </ac:picMkLst>
        </pc:picChg>
        <pc:picChg chg="add mod">
          <ac:chgData name="Jason Madden" userId="bc5fc663-4acf-4c70-beae-e4d4354e4ea1" providerId="ADAL" clId="{9242D02F-3850-469A-9E84-08401F66F885}" dt="2022-11-22T23:48:10.213" v="2184" actId="1076"/>
          <ac:picMkLst>
            <pc:docMk/>
            <pc:sldMk cId="3535271327" sldId="2147471335"/>
            <ac:picMk id="14" creationId="{951F669D-577C-EC81-CE78-9A8625DE08E6}"/>
          </ac:picMkLst>
        </pc:picChg>
        <pc:picChg chg="del">
          <ac:chgData name="Jason Madden" userId="bc5fc663-4acf-4c70-beae-e4d4354e4ea1" providerId="ADAL" clId="{9242D02F-3850-469A-9E84-08401F66F885}" dt="2022-11-22T23:47:00.453" v="2168" actId="478"/>
          <ac:picMkLst>
            <pc:docMk/>
            <pc:sldMk cId="3535271327" sldId="2147471335"/>
            <ac:picMk id="27" creationId="{EC8644AC-5D1F-48E2-9105-8C188A8662DC}"/>
          </ac:picMkLst>
        </pc:picChg>
        <pc:picChg chg="del">
          <ac:chgData name="Jason Madden" userId="bc5fc663-4acf-4c70-beae-e4d4354e4ea1" providerId="ADAL" clId="{9242D02F-3850-469A-9E84-08401F66F885}" dt="2022-11-22T23:46:32.323" v="2160" actId="478"/>
          <ac:picMkLst>
            <pc:docMk/>
            <pc:sldMk cId="3535271327" sldId="2147471335"/>
            <ac:picMk id="37" creationId="{9188EA82-32E9-415A-B9A2-0269D86AE4D3}"/>
          </ac:picMkLst>
        </pc:picChg>
        <pc:picChg chg="del mod">
          <ac:chgData name="Jason Madden" userId="bc5fc663-4acf-4c70-beae-e4d4354e4ea1" providerId="ADAL" clId="{9242D02F-3850-469A-9E84-08401F66F885}" dt="2022-11-22T23:46:53.627" v="2167" actId="478"/>
          <ac:picMkLst>
            <pc:docMk/>
            <pc:sldMk cId="3535271327" sldId="2147471335"/>
            <ac:picMk id="38" creationId="{3BCF700D-81DA-4321-98B6-A5AE441AC82C}"/>
          </ac:picMkLst>
        </pc:picChg>
      </pc:sldChg>
      <pc:sldChg chg="addSp delSp modSp mod">
        <pc:chgData name="Jason Madden" userId="bc5fc663-4acf-4c70-beae-e4d4354e4ea1" providerId="ADAL" clId="{9242D02F-3850-469A-9E84-08401F66F885}" dt="2022-11-22T23:26:31.535" v="1801" actId="478"/>
        <pc:sldMkLst>
          <pc:docMk/>
          <pc:sldMk cId="4100271353" sldId="2147471336"/>
        </pc:sldMkLst>
        <pc:spChg chg="add del mod">
          <ac:chgData name="Jason Madden" userId="bc5fc663-4acf-4c70-beae-e4d4354e4ea1" providerId="ADAL" clId="{9242D02F-3850-469A-9E84-08401F66F885}" dt="2022-11-22T23:26:31.535" v="1801" actId="478"/>
          <ac:spMkLst>
            <pc:docMk/>
            <pc:sldMk cId="4100271353" sldId="2147471336"/>
            <ac:spMk id="7" creationId="{6F1CD9BC-3334-E76C-2D2A-E52D7D3C54B0}"/>
          </ac:spMkLst>
        </pc:spChg>
        <pc:spChg chg="add mod">
          <ac:chgData name="Jason Madden" userId="bc5fc663-4acf-4c70-beae-e4d4354e4ea1" providerId="ADAL" clId="{9242D02F-3850-469A-9E84-08401F66F885}" dt="2022-11-22T22:58:30.558" v="1580" actId="6549"/>
          <ac:spMkLst>
            <pc:docMk/>
            <pc:sldMk cId="4100271353" sldId="2147471336"/>
            <ac:spMk id="11" creationId="{4F55CEF7-D1AE-C947-FF78-19078821313B}"/>
          </ac:spMkLst>
        </pc:spChg>
        <pc:spChg chg="add mod">
          <ac:chgData name="Jason Madden" userId="bc5fc663-4acf-4c70-beae-e4d4354e4ea1" providerId="ADAL" clId="{9242D02F-3850-469A-9E84-08401F66F885}" dt="2022-11-22T22:58:29.384" v="1579" actId="6549"/>
          <ac:spMkLst>
            <pc:docMk/>
            <pc:sldMk cId="4100271353" sldId="2147471336"/>
            <ac:spMk id="12" creationId="{B05A905B-BD60-0DEC-2A2D-E6462A69C3C3}"/>
          </ac:spMkLst>
        </pc:spChg>
        <pc:spChg chg="add del mod">
          <ac:chgData name="Jason Madden" userId="bc5fc663-4acf-4c70-beae-e4d4354e4ea1" providerId="ADAL" clId="{9242D02F-3850-469A-9E84-08401F66F885}" dt="2022-11-22T22:57:23.071" v="1564"/>
          <ac:spMkLst>
            <pc:docMk/>
            <pc:sldMk cId="4100271353" sldId="2147471336"/>
            <ac:spMk id="14" creationId="{17D9995B-CDDE-6FFB-40F5-0B7EBB1007B1}"/>
          </ac:spMkLst>
        </pc:spChg>
        <pc:spChg chg="add del mod">
          <ac:chgData name="Jason Madden" userId="bc5fc663-4acf-4c70-beae-e4d4354e4ea1" providerId="ADAL" clId="{9242D02F-3850-469A-9E84-08401F66F885}" dt="2022-11-22T22:57:23.071" v="1564"/>
          <ac:spMkLst>
            <pc:docMk/>
            <pc:sldMk cId="4100271353" sldId="2147471336"/>
            <ac:spMk id="15" creationId="{78732A35-9BAC-BAEB-56BF-C37C28DAFEF3}"/>
          </ac:spMkLst>
        </pc:spChg>
        <pc:spChg chg="add mod">
          <ac:chgData name="Jason Madden" userId="bc5fc663-4acf-4c70-beae-e4d4354e4ea1" providerId="ADAL" clId="{9242D02F-3850-469A-9E84-08401F66F885}" dt="2022-11-22T22:58:28.520" v="1578" actId="6549"/>
          <ac:spMkLst>
            <pc:docMk/>
            <pc:sldMk cId="4100271353" sldId="2147471336"/>
            <ac:spMk id="16" creationId="{812F34A2-11F6-89E2-4B05-B55CC3F16AD8}"/>
          </ac:spMkLst>
        </pc:spChg>
        <pc:spChg chg="del">
          <ac:chgData name="Jason Madden" userId="bc5fc663-4acf-4c70-beae-e4d4354e4ea1" providerId="ADAL" clId="{9242D02F-3850-469A-9E84-08401F66F885}" dt="2022-11-22T22:57:02.472" v="1558" actId="478"/>
          <ac:spMkLst>
            <pc:docMk/>
            <pc:sldMk cId="4100271353" sldId="2147471336"/>
            <ac:spMk id="18" creationId="{0E790356-1214-45BC-84A1-AF68403F1D05}"/>
          </ac:spMkLst>
        </pc:spChg>
        <pc:spChg chg="mod">
          <ac:chgData name="Jason Madden" userId="bc5fc663-4acf-4c70-beae-e4d4354e4ea1" providerId="ADAL" clId="{9242D02F-3850-469A-9E84-08401F66F885}" dt="2022-11-22T22:58:39.596" v="1600" actId="20577"/>
          <ac:spMkLst>
            <pc:docMk/>
            <pc:sldMk cId="4100271353" sldId="2147471336"/>
            <ac:spMk id="47" creationId="{41BEFA99-2BEB-4353-8D60-B6B2A0A9BC3F}"/>
          </ac:spMkLst>
        </pc:spChg>
        <pc:spChg chg="add mod">
          <ac:chgData name="Jason Madden" userId="bc5fc663-4acf-4c70-beae-e4d4354e4ea1" providerId="ADAL" clId="{9242D02F-3850-469A-9E84-08401F66F885}" dt="2022-11-22T23:24:43.917" v="1676" actId="14100"/>
          <ac:spMkLst>
            <pc:docMk/>
            <pc:sldMk cId="4100271353" sldId="2147471336"/>
            <ac:spMk id="69" creationId="{30ED8C20-9B37-4D9E-99FD-76D426F86D9C}"/>
          </ac:spMkLst>
        </pc:spChg>
        <pc:spChg chg="add del mod">
          <ac:chgData name="Jason Madden" userId="bc5fc663-4acf-4c70-beae-e4d4354e4ea1" providerId="ADAL" clId="{9242D02F-3850-469A-9E84-08401F66F885}" dt="2022-11-22T23:25:04.142" v="1682" actId="478"/>
          <ac:spMkLst>
            <pc:docMk/>
            <pc:sldMk cId="4100271353" sldId="2147471336"/>
            <ac:spMk id="72" creationId="{54023605-F44D-D812-61AB-5449F660ECD6}"/>
          </ac:spMkLst>
        </pc:spChg>
        <pc:spChg chg="add mod">
          <ac:chgData name="Jason Madden" userId="bc5fc663-4acf-4c70-beae-e4d4354e4ea1" providerId="ADAL" clId="{9242D02F-3850-469A-9E84-08401F66F885}" dt="2022-11-22T23:25:14.574" v="1712" actId="20577"/>
          <ac:spMkLst>
            <pc:docMk/>
            <pc:sldMk cId="4100271353" sldId="2147471336"/>
            <ac:spMk id="73" creationId="{CE689FBF-D82C-1CBA-102A-4CB427962DED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85" creationId="{CE5C2835-A5A1-428E-9489-08B98104F7FC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87" creationId="{08CAF729-B778-4EC9-9153-6F7955856749}"/>
          </ac:spMkLst>
        </pc:spChg>
        <pc:spChg chg="del mod">
          <ac:chgData name="Jason Madden" userId="bc5fc663-4acf-4c70-beae-e4d4354e4ea1" providerId="ADAL" clId="{9242D02F-3850-469A-9E84-08401F66F885}" dt="2022-11-22T23:22:08.453" v="1656" actId="478"/>
          <ac:spMkLst>
            <pc:docMk/>
            <pc:sldMk cId="4100271353" sldId="2147471336"/>
            <ac:spMk id="89" creationId="{53974979-FAB9-4054-8DBC-351209162103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90" creationId="{9CE45B4A-853A-4AAF-8AC2-DA9950AF9D00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93" creationId="{9FF2FBB1-523B-48FE-B9FD-B4C99F7D6FE5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94" creationId="{C37C9905-0960-425E-B8EF-0ECFF2442AD7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95" creationId="{9F1DC27E-4C30-4DA4-AAE8-F36BBA394A67}"/>
          </ac:spMkLst>
        </pc:spChg>
        <pc:spChg chg="mod">
          <ac:chgData name="Jason Madden" userId="bc5fc663-4acf-4c70-beae-e4d4354e4ea1" providerId="ADAL" clId="{9242D02F-3850-469A-9E84-08401F66F885}" dt="2022-11-22T23:25:08.308" v="1683" actId="571"/>
          <ac:spMkLst>
            <pc:docMk/>
            <pc:sldMk cId="4100271353" sldId="2147471336"/>
            <ac:spMk id="96" creationId="{9A7C7FA5-68FB-4271-8030-F03E2323DAE5}"/>
          </ac:spMkLst>
        </pc:spChg>
        <pc:spChg chg="del mod">
          <ac:chgData name="Jason Madden" userId="bc5fc663-4acf-4c70-beae-e4d4354e4ea1" providerId="ADAL" clId="{9242D02F-3850-469A-9E84-08401F66F885}" dt="2022-11-22T23:24:19.496" v="1670" actId="478"/>
          <ac:spMkLst>
            <pc:docMk/>
            <pc:sldMk cId="4100271353" sldId="2147471336"/>
            <ac:spMk id="97" creationId="{AD8CC078-D9CA-4F00-AE6A-E078A9C21190}"/>
          </ac:spMkLst>
        </pc:spChg>
        <pc:grpChg chg="mod">
          <ac:chgData name="Jason Madden" userId="bc5fc663-4acf-4c70-beae-e4d4354e4ea1" providerId="ADAL" clId="{9242D02F-3850-469A-9E84-08401F66F885}" dt="2022-11-22T22:57:42.003" v="1569" actId="1076"/>
          <ac:grpSpMkLst>
            <pc:docMk/>
            <pc:sldMk cId="4100271353" sldId="2147471336"/>
            <ac:grpSpMk id="3" creationId="{DAB25251-8DC0-497E-BFA4-EEBD5BCB918B}"/>
          </ac:grpSpMkLst>
        </pc:grpChg>
        <pc:grpChg chg="mod">
          <ac:chgData name="Jason Madden" userId="bc5fc663-4acf-4c70-beae-e4d4354e4ea1" providerId="ADAL" clId="{9242D02F-3850-469A-9E84-08401F66F885}" dt="2022-11-22T23:25:08.308" v="1683" actId="571"/>
          <ac:grpSpMkLst>
            <pc:docMk/>
            <pc:sldMk cId="4100271353" sldId="2147471336"/>
            <ac:grpSpMk id="6" creationId="{7E0F8ABE-4799-4D6D-B25A-D625774FA6EF}"/>
          </ac:grpSpMkLst>
        </pc:grpChg>
        <pc:graphicFrameChg chg="modGraphic">
          <ac:chgData name="Jason Madden" userId="bc5fc663-4acf-4c70-beae-e4d4354e4ea1" providerId="ADAL" clId="{9242D02F-3850-469A-9E84-08401F66F885}" dt="2022-11-22T23:26:15.070" v="1800" actId="20577"/>
          <ac:graphicFrameMkLst>
            <pc:docMk/>
            <pc:sldMk cId="4100271353" sldId="2147471336"/>
            <ac:graphicFrameMk id="5" creationId="{611D0188-B905-46F5-A95C-F74BA571D589}"/>
          </ac:graphicFrameMkLst>
        </pc:graphicFrameChg>
        <pc:cxnChg chg="del">
          <ac:chgData name="Jason Madden" userId="bc5fc663-4acf-4c70-beae-e4d4354e4ea1" providerId="ADAL" clId="{9242D02F-3850-469A-9E84-08401F66F885}" dt="2022-11-22T22:58:09.577" v="1575" actId="478"/>
          <ac:cxnSpMkLst>
            <pc:docMk/>
            <pc:sldMk cId="4100271353" sldId="2147471336"/>
            <ac:cxnSpMk id="102" creationId="{78F7696C-3C0A-CA38-B8AF-3D1AEE175011}"/>
          </ac:cxnSpMkLst>
        </pc:cxnChg>
        <pc:cxnChg chg="del">
          <ac:chgData name="Jason Madden" userId="bc5fc663-4acf-4c70-beae-e4d4354e4ea1" providerId="ADAL" clId="{9242D02F-3850-469A-9E84-08401F66F885}" dt="2022-11-22T22:58:06.928" v="1574" actId="478"/>
          <ac:cxnSpMkLst>
            <pc:docMk/>
            <pc:sldMk cId="4100271353" sldId="2147471336"/>
            <ac:cxnSpMk id="104" creationId="{189E80BB-5ACC-4FEE-D638-39CD297E87C4}"/>
          </ac:cxnSpMkLst>
        </pc:cxnChg>
        <pc:cxnChg chg="mod">
          <ac:chgData name="Jason Madden" userId="bc5fc663-4acf-4c70-beae-e4d4354e4ea1" providerId="ADAL" clId="{9242D02F-3850-469A-9E84-08401F66F885}" dt="2022-11-22T23:22:15.733" v="1658" actId="14100"/>
          <ac:cxnSpMkLst>
            <pc:docMk/>
            <pc:sldMk cId="4100271353" sldId="2147471336"/>
            <ac:cxnSpMk id="111" creationId="{0D24C6ED-733C-A14E-4957-3F90BE387B79}"/>
          </ac:cxnSpMkLst>
        </pc:cxnChg>
        <pc:cxnChg chg="del mod">
          <ac:chgData name="Jason Madden" userId="bc5fc663-4acf-4c70-beae-e4d4354e4ea1" providerId="ADAL" clId="{9242D02F-3850-469A-9E84-08401F66F885}" dt="2022-11-22T23:24:17.581" v="1669" actId="478"/>
          <ac:cxnSpMkLst>
            <pc:docMk/>
            <pc:sldMk cId="4100271353" sldId="2147471336"/>
            <ac:cxnSpMk id="116" creationId="{A3F51D11-8A4B-0B1D-A60A-27AB8F98C4C0}"/>
          </ac:cxnSpMkLst>
        </pc:cxnChg>
        <pc:cxnChg chg="del">
          <ac:chgData name="Jason Madden" userId="bc5fc663-4acf-4c70-beae-e4d4354e4ea1" providerId="ADAL" clId="{9242D02F-3850-469A-9E84-08401F66F885}" dt="2022-11-22T22:58:10.660" v="1576" actId="478"/>
          <ac:cxnSpMkLst>
            <pc:docMk/>
            <pc:sldMk cId="4100271353" sldId="2147471336"/>
            <ac:cxnSpMk id="122" creationId="{235687FA-5114-8245-75DA-1A07D0712880}"/>
          </ac:cxnSpMkLst>
        </pc:cxnChg>
      </pc:sldChg>
      <pc:sldChg chg="addSp delSp modSp mod">
        <pc:chgData name="Jason Madden" userId="bc5fc663-4acf-4c70-beae-e4d4354e4ea1" providerId="ADAL" clId="{9242D02F-3850-469A-9E84-08401F66F885}" dt="2022-11-22T22:40:13.569" v="1169"/>
        <pc:sldMkLst>
          <pc:docMk/>
          <pc:sldMk cId="4117939745" sldId="2147471397"/>
        </pc:sldMkLst>
        <pc:spChg chg="mod">
          <ac:chgData name="Jason Madden" userId="bc5fc663-4acf-4c70-beae-e4d4354e4ea1" providerId="ADAL" clId="{9242D02F-3850-469A-9E84-08401F66F885}" dt="2022-11-22T22:40:13.507" v="1126" actId="948"/>
          <ac:spMkLst>
            <pc:docMk/>
            <pc:sldMk cId="4117939745" sldId="2147471397"/>
            <ac:spMk id="2" creationId="{92BEAD6C-2F06-DB33-1FDF-0EC369C78368}"/>
          </ac:spMkLst>
        </pc:spChg>
        <pc:spChg chg="add del mod modVis">
          <ac:chgData name="Jason Madden" userId="bc5fc663-4acf-4c70-beae-e4d4354e4ea1" providerId="ADAL" clId="{9242D02F-3850-469A-9E84-08401F66F885}" dt="2022-11-22T21:58:03.635" v="858"/>
          <ac:spMkLst>
            <pc:docMk/>
            <pc:sldMk cId="4117939745" sldId="2147471397"/>
            <ac:spMk id="4" creationId="{7B174184-C382-CDDE-4F28-A596FBEDCA63}"/>
          </ac:spMkLst>
        </pc:spChg>
        <pc:spChg chg="add del mod modVis">
          <ac:chgData name="Jason Madden" userId="bc5fc663-4acf-4c70-beae-e4d4354e4ea1" providerId="ADAL" clId="{9242D02F-3850-469A-9E84-08401F66F885}" dt="2022-11-22T21:58:06.277" v="903"/>
          <ac:spMkLst>
            <pc:docMk/>
            <pc:sldMk cId="4117939745" sldId="2147471397"/>
            <ac:spMk id="6" creationId="{3FD69A3F-F032-B5D6-1DE9-002D35B83E0A}"/>
          </ac:spMkLst>
        </pc:spChg>
        <pc:spChg chg="add del mod modVis">
          <ac:chgData name="Jason Madden" userId="bc5fc663-4acf-4c70-beae-e4d4354e4ea1" providerId="ADAL" clId="{9242D02F-3850-469A-9E84-08401F66F885}" dt="2022-11-22T21:58:07.811" v="948"/>
          <ac:spMkLst>
            <pc:docMk/>
            <pc:sldMk cId="4117939745" sldId="2147471397"/>
            <ac:spMk id="7" creationId="{D3E48905-6467-4239-1671-EB0649860D7E}"/>
          </ac:spMkLst>
        </pc:spChg>
        <pc:spChg chg="add del mod modVis">
          <ac:chgData name="Jason Madden" userId="bc5fc663-4acf-4c70-beae-e4d4354e4ea1" providerId="ADAL" clId="{9242D02F-3850-469A-9E84-08401F66F885}" dt="2022-11-22T22:39:56.992" v="1077"/>
          <ac:spMkLst>
            <pc:docMk/>
            <pc:sldMk cId="4117939745" sldId="2147471397"/>
            <ac:spMk id="8" creationId="{6929F234-46FA-8824-00CF-004C74160AE7}"/>
          </ac:spMkLst>
        </pc:spChg>
        <pc:spChg chg="add del mod modVis">
          <ac:chgData name="Jason Madden" userId="bc5fc663-4acf-4c70-beae-e4d4354e4ea1" providerId="ADAL" clId="{9242D02F-3850-469A-9E84-08401F66F885}" dt="2022-11-22T22:40:11.025" v="1122"/>
          <ac:spMkLst>
            <pc:docMk/>
            <pc:sldMk cId="4117939745" sldId="2147471397"/>
            <ac:spMk id="9" creationId="{98748174-2563-E62F-810D-72156C8FFCCD}"/>
          </ac:spMkLst>
        </pc:spChg>
        <pc:spChg chg="add del mod modVis">
          <ac:chgData name="Jason Madden" userId="bc5fc663-4acf-4c70-beae-e4d4354e4ea1" providerId="ADAL" clId="{9242D02F-3850-469A-9E84-08401F66F885}" dt="2022-11-22T22:40:13.560" v="1167"/>
          <ac:spMkLst>
            <pc:docMk/>
            <pc:sldMk cId="4117939745" sldId="2147471397"/>
            <ac:spMk id="10" creationId="{2C5DDD02-2F33-B14D-9118-1E76248BAF64}"/>
          </ac:spMkLst>
        </pc:spChg>
        <pc:graphicFrameChg chg="mod">
          <ac:chgData name="Jason Madden" userId="bc5fc663-4acf-4c70-beae-e4d4354e4ea1" providerId="ADAL" clId="{9242D02F-3850-469A-9E84-08401F66F885}" dt="2022-11-22T22:40:13.569" v="1169"/>
          <ac:graphicFrameMkLst>
            <pc:docMk/>
            <pc:sldMk cId="4117939745" sldId="2147471397"/>
            <ac:graphicFrameMk id="5" creationId="{AE4D5EED-9A99-3CCD-D1C1-B87D68D68BE2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2T22:39:46.764" v="1033"/>
        <pc:sldMkLst>
          <pc:docMk/>
          <pc:sldMk cId="2825615702" sldId="2147471398"/>
        </pc:sldMkLst>
        <pc:spChg chg="mod">
          <ac:chgData name="Jason Madden" userId="bc5fc663-4acf-4c70-beae-e4d4354e4ea1" providerId="ADAL" clId="{9242D02F-3850-469A-9E84-08401F66F885}" dt="2022-11-22T22:39:46.711" v="984" actId="948"/>
          <ac:spMkLst>
            <pc:docMk/>
            <pc:sldMk cId="2825615702" sldId="2147471398"/>
            <ac:spMk id="2" creationId="{92BEAD6C-2F06-DB33-1FDF-0EC369C78368}"/>
          </ac:spMkLst>
        </pc:spChg>
        <pc:spChg chg="add del mod modVis">
          <ac:chgData name="Jason Madden" userId="bc5fc663-4acf-4c70-beae-e4d4354e4ea1" providerId="ADAL" clId="{9242D02F-3850-469A-9E84-08401F66F885}" dt="2022-11-22T22:39:46.761" v="1031"/>
          <ac:spMkLst>
            <pc:docMk/>
            <pc:sldMk cId="2825615702" sldId="2147471398"/>
            <ac:spMk id="4" creationId="{9B2325F2-2D21-677A-78C9-259C325A047C}"/>
          </ac:spMkLst>
        </pc:spChg>
        <pc:graphicFrameChg chg="mod">
          <ac:chgData name="Jason Madden" userId="bc5fc663-4acf-4c70-beae-e4d4354e4ea1" providerId="ADAL" clId="{9242D02F-3850-469A-9E84-08401F66F885}" dt="2022-11-22T22:39:46.764" v="1033"/>
          <ac:graphicFrameMkLst>
            <pc:docMk/>
            <pc:sldMk cId="2825615702" sldId="2147471398"/>
            <ac:graphicFrameMk id="5" creationId="{AE4D5EED-9A99-3CCD-D1C1-B87D68D68BE2}"/>
          </ac:graphicFrameMkLst>
        </pc:graphicFrameChg>
      </pc:sldChg>
      <pc:sldChg chg="addSp delSp modSp new add del mod modClrScheme chgLayout">
        <pc:chgData name="Jason Madden" userId="bc5fc663-4acf-4c70-beae-e4d4354e4ea1" providerId="ADAL" clId="{9242D02F-3850-469A-9E84-08401F66F885}" dt="2022-11-23T02:50:11.658" v="11794" actId="47"/>
        <pc:sldMkLst>
          <pc:docMk/>
          <pc:sldMk cId="1945955968" sldId="2147471399"/>
        </pc:sldMkLst>
        <pc:spChg chg="del mod ord">
          <ac:chgData name="Jason Madden" userId="bc5fc663-4acf-4c70-beae-e4d4354e4ea1" providerId="ADAL" clId="{9242D02F-3850-469A-9E84-08401F66F885}" dt="2022-11-22T21:58:20.309" v="961"/>
          <ac:spMkLst>
            <pc:docMk/>
            <pc:sldMk cId="1945955968" sldId="2147471399"/>
            <ac:spMk id="2" creationId="{B140E923-A555-3145-5AF0-634A1F603505}"/>
          </ac:spMkLst>
        </pc:spChg>
        <pc:spChg chg="mod ord">
          <ac:chgData name="Jason Madden" userId="bc5fc663-4acf-4c70-beae-e4d4354e4ea1" providerId="ADAL" clId="{9242D02F-3850-469A-9E84-08401F66F885}" dt="2022-11-22T21:58:20.309" v="961"/>
          <ac:spMkLst>
            <pc:docMk/>
            <pc:sldMk cId="1945955968" sldId="2147471399"/>
            <ac:spMk id="3" creationId="{BDFF39B9-A730-FD33-C097-D91CEB5A7F44}"/>
          </ac:spMkLst>
        </pc:spChg>
        <pc:spChg chg="add mod ord">
          <ac:chgData name="Jason Madden" userId="bc5fc663-4acf-4c70-beae-e4d4354e4ea1" providerId="ADAL" clId="{9242D02F-3850-469A-9E84-08401F66F885}" dt="2022-11-22T21:58:20.309" v="961"/>
          <ac:spMkLst>
            <pc:docMk/>
            <pc:sldMk cId="1945955968" sldId="2147471399"/>
            <ac:spMk id="4" creationId="{F8152FFA-C1AB-0379-DF52-C3E9B4D07019}"/>
          </ac:spMkLst>
        </pc:spChg>
        <pc:spChg chg="add mod ord">
          <ac:chgData name="Jason Madden" userId="bc5fc663-4acf-4c70-beae-e4d4354e4ea1" providerId="ADAL" clId="{9242D02F-3850-469A-9E84-08401F66F885}" dt="2022-11-22T21:58:20.309" v="961"/>
          <ac:spMkLst>
            <pc:docMk/>
            <pc:sldMk cId="1945955968" sldId="2147471399"/>
            <ac:spMk id="5" creationId="{C15BF72E-D7A4-D5B4-3A23-AA377DEB56B8}"/>
          </ac:spMkLst>
        </pc:spChg>
        <pc:spChg chg="add mod">
          <ac:chgData name="Jason Madden" userId="bc5fc663-4acf-4c70-beae-e4d4354e4ea1" providerId="ADAL" clId="{9242D02F-3850-469A-9E84-08401F66F885}" dt="2022-11-22T21:58:35.158" v="981" actId="20577"/>
          <ac:spMkLst>
            <pc:docMk/>
            <pc:sldMk cId="1945955968" sldId="2147471399"/>
            <ac:spMk id="7" creationId="{CF687DCC-9660-ABBA-5494-33F7CABD2BEC}"/>
          </ac:spMkLst>
        </pc:spChg>
        <pc:graphicFrameChg chg="add mod ord modVis replST">
          <ac:chgData name="Jason Madden" userId="bc5fc663-4acf-4c70-beae-e4d4354e4ea1" providerId="ADAL" clId="{9242D02F-3850-469A-9E84-08401F66F885}" dt="2022-11-22T21:58:22.521" v="979"/>
          <ac:graphicFrameMkLst>
            <pc:docMk/>
            <pc:sldMk cId="1945955968" sldId="2147471399"/>
            <ac:graphicFrameMk id="6" creationId="{D267BD7C-3AD4-82CB-05FB-87D5319BC738}"/>
          </ac:graphicFrameMkLst>
        </pc:graphicFrameChg>
      </pc:sldChg>
      <pc:sldChg chg="del">
        <pc:chgData name="Jason Madden" userId="bc5fc663-4acf-4c70-beae-e4d4354e4ea1" providerId="ADAL" clId="{9242D02F-3850-469A-9E84-08401F66F885}" dt="2022-11-22T22:48:16.260" v="1171" actId="47"/>
        <pc:sldMkLst>
          <pc:docMk/>
          <pc:sldMk cId="316440058" sldId="2147471400"/>
        </pc:sldMkLst>
      </pc:sldChg>
      <pc:sldChg chg="del">
        <pc:chgData name="Jason Madden" userId="bc5fc663-4acf-4c70-beae-e4d4354e4ea1" providerId="ADAL" clId="{9242D02F-3850-469A-9E84-08401F66F885}" dt="2022-11-23T02:50:27.105" v="11796" actId="47"/>
        <pc:sldMkLst>
          <pc:docMk/>
          <pc:sldMk cId="2948937130" sldId="2147471416"/>
        </pc:sldMkLst>
      </pc:sldChg>
      <pc:sldChg chg="addSp delSp modSp mod">
        <pc:chgData name="Jason Madden" userId="bc5fc663-4acf-4c70-beae-e4d4354e4ea1" providerId="ADAL" clId="{9242D02F-3850-469A-9E84-08401F66F885}" dt="2022-11-22T22:48:35.309" v="1273"/>
        <pc:sldMkLst>
          <pc:docMk/>
          <pc:sldMk cId="856594901" sldId="2147471441"/>
        </pc:sldMkLst>
        <pc:spChg chg="add del mod modVis">
          <ac:chgData name="Jason Madden" userId="bc5fc663-4acf-4c70-beae-e4d4354e4ea1" providerId="ADAL" clId="{9242D02F-3850-469A-9E84-08401F66F885}" dt="2022-11-22T22:48:33.486" v="1220"/>
          <ac:spMkLst>
            <pc:docMk/>
            <pc:sldMk cId="856594901" sldId="2147471441"/>
            <ac:spMk id="2" creationId="{00EA12C3-9100-2C19-2C5E-7D21A37F45D3}"/>
          </ac:spMkLst>
        </pc:spChg>
        <pc:spChg chg="add del mod modVis">
          <ac:chgData name="Jason Madden" userId="bc5fc663-4acf-4c70-beae-e4d4354e4ea1" providerId="ADAL" clId="{9242D02F-3850-469A-9E84-08401F66F885}" dt="2022-11-22T22:48:35.303" v="1271"/>
          <ac:spMkLst>
            <pc:docMk/>
            <pc:sldMk cId="856594901" sldId="2147471441"/>
            <ac:spMk id="3" creationId="{1C058729-A7DE-D2CD-F43E-28CB168DC20F}"/>
          </ac:spMkLst>
        </pc:spChg>
        <pc:spChg chg="mod">
          <ac:chgData name="Jason Madden" userId="bc5fc663-4acf-4c70-beae-e4d4354e4ea1" providerId="ADAL" clId="{9242D02F-3850-469A-9E84-08401F66F885}" dt="2022-11-22T22:48:35.157" v="1224" actId="948"/>
          <ac:spMkLst>
            <pc:docMk/>
            <pc:sldMk cId="856594901" sldId="2147471441"/>
            <ac:spMk id="9" creationId="{B44DCDED-63AB-0673-E99A-9E09903C9C29}"/>
          </ac:spMkLst>
        </pc:spChg>
        <pc:graphicFrameChg chg="mod">
          <ac:chgData name="Jason Madden" userId="bc5fc663-4acf-4c70-beae-e4d4354e4ea1" providerId="ADAL" clId="{9242D02F-3850-469A-9E84-08401F66F885}" dt="2022-11-22T22:48:35.309" v="1273"/>
          <ac:graphicFrameMkLst>
            <pc:docMk/>
            <pc:sldMk cId="856594901" sldId="2147471441"/>
            <ac:graphicFrameMk id="8" creationId="{F06A494A-AFD4-3584-0FBE-7E8DB94F24C8}"/>
          </ac:graphicFrameMkLst>
        </pc:graphicFrameChg>
      </pc:sldChg>
      <pc:sldChg chg="del">
        <pc:chgData name="Jason Madden" userId="bc5fc663-4acf-4c70-beae-e4d4354e4ea1" providerId="ADAL" clId="{9242D02F-3850-469A-9E84-08401F66F885}" dt="2022-11-22T22:48:40.244" v="1274" actId="47"/>
        <pc:sldMkLst>
          <pc:docMk/>
          <pc:sldMk cId="1261989565" sldId="2147471444"/>
        </pc:sldMkLst>
      </pc:sldChg>
      <pc:sldChg chg="addSp delSp modSp mod">
        <pc:chgData name="Jason Madden" userId="bc5fc663-4acf-4c70-beae-e4d4354e4ea1" providerId="ADAL" clId="{9242D02F-3850-469A-9E84-08401F66F885}" dt="2022-11-23T00:49:40.563" v="11676" actId="478"/>
        <pc:sldMkLst>
          <pc:docMk/>
          <pc:sldMk cId="2028211501" sldId="2147471456"/>
        </pc:sldMkLst>
        <pc:spChg chg="mod ord">
          <ac:chgData name="Jason Madden" userId="bc5fc663-4acf-4c70-beae-e4d4354e4ea1" providerId="ADAL" clId="{9242D02F-3850-469A-9E84-08401F66F885}" dt="2022-11-23T00:49:14.305" v="11640" actId="948"/>
          <ac:spMkLst>
            <pc:docMk/>
            <pc:sldMk cId="2028211501" sldId="2147471456"/>
            <ac:spMk id="2" creationId="{0FA0D718-E49E-0CBB-C450-E246864E2E3B}"/>
          </ac:spMkLst>
        </pc:spChg>
        <pc:spChg chg="mod ord">
          <ac:chgData name="Jason Madden" userId="bc5fc663-4acf-4c70-beae-e4d4354e4ea1" providerId="ADAL" clId="{9242D02F-3850-469A-9E84-08401F66F885}" dt="2022-11-23T00:48:48.455" v="11328"/>
          <ac:spMkLst>
            <pc:docMk/>
            <pc:sldMk cId="2028211501" sldId="2147471456"/>
            <ac:spMk id="3" creationId="{BCCFB795-8D38-0F07-C1DC-B56EDC858B5F}"/>
          </ac:spMkLst>
        </pc:spChg>
        <pc:spChg chg="mod ord">
          <ac:chgData name="Jason Madden" userId="bc5fc663-4acf-4c70-beae-e4d4354e4ea1" providerId="ADAL" clId="{9242D02F-3850-469A-9E84-08401F66F885}" dt="2022-11-23T00:48:48.413" v="11180"/>
          <ac:spMkLst>
            <pc:docMk/>
            <pc:sldMk cId="2028211501" sldId="2147471456"/>
            <ac:spMk id="4" creationId="{907A8FA3-21D2-77A9-B346-F5F92ACCD622}"/>
          </ac:spMkLst>
        </pc:spChg>
        <pc:spChg chg="mod">
          <ac:chgData name="Jason Madden" userId="bc5fc663-4acf-4c70-beae-e4d4354e4ea1" providerId="ADAL" clId="{9242D02F-3850-469A-9E84-08401F66F885}" dt="2022-11-23T00:49:14.337" v="11664"/>
          <ac:spMkLst>
            <pc:docMk/>
            <pc:sldMk cId="2028211501" sldId="2147471456"/>
            <ac:spMk id="6" creationId="{3BAF453F-B21D-63B5-3192-281B7C51FE7D}"/>
          </ac:spMkLst>
        </pc:spChg>
        <pc:spChg chg="mod">
          <ac:chgData name="Jason Madden" userId="bc5fc663-4acf-4c70-beae-e4d4354e4ea1" providerId="ADAL" clId="{9242D02F-3850-469A-9E84-08401F66F885}" dt="2022-11-23T00:49:14.337" v="11665"/>
          <ac:spMkLst>
            <pc:docMk/>
            <pc:sldMk cId="2028211501" sldId="2147471456"/>
            <ac:spMk id="7" creationId="{632CD482-3AE1-AEBE-DC73-92F6B4A7EB2D}"/>
          </ac:spMkLst>
        </pc:spChg>
        <pc:spChg chg="mod">
          <ac:chgData name="Jason Madden" userId="bc5fc663-4acf-4c70-beae-e4d4354e4ea1" providerId="ADAL" clId="{9242D02F-3850-469A-9E84-08401F66F885}" dt="2022-11-23T00:49:14.338" v="11666"/>
          <ac:spMkLst>
            <pc:docMk/>
            <pc:sldMk cId="2028211501" sldId="2147471456"/>
            <ac:spMk id="8" creationId="{A814811D-78B3-3584-01EC-1FFEC0D5A2D5}"/>
          </ac:spMkLst>
        </pc:spChg>
        <pc:spChg chg="mod">
          <ac:chgData name="Jason Madden" userId="bc5fc663-4acf-4c70-beae-e4d4354e4ea1" providerId="ADAL" clId="{9242D02F-3850-469A-9E84-08401F66F885}" dt="2022-11-23T00:49:14.339" v="11667"/>
          <ac:spMkLst>
            <pc:docMk/>
            <pc:sldMk cId="2028211501" sldId="2147471456"/>
            <ac:spMk id="9" creationId="{F070FB86-CE32-35E4-7641-B55A82E6D854}"/>
          </ac:spMkLst>
        </pc:spChg>
        <pc:spChg chg="mod">
          <ac:chgData name="Jason Madden" userId="bc5fc663-4acf-4c70-beae-e4d4354e4ea1" providerId="ADAL" clId="{9242D02F-3850-469A-9E84-08401F66F885}" dt="2022-11-23T00:49:14.339" v="11668"/>
          <ac:spMkLst>
            <pc:docMk/>
            <pc:sldMk cId="2028211501" sldId="2147471456"/>
            <ac:spMk id="10" creationId="{2F63E0E2-1094-1230-BE7A-933B1AABB6EE}"/>
          </ac:spMkLst>
        </pc:spChg>
        <pc:spChg chg="mod">
          <ac:chgData name="Jason Madden" userId="bc5fc663-4acf-4c70-beae-e4d4354e4ea1" providerId="ADAL" clId="{9242D02F-3850-469A-9E84-08401F66F885}" dt="2022-11-23T00:49:14.340" v="11669"/>
          <ac:spMkLst>
            <pc:docMk/>
            <pc:sldMk cId="2028211501" sldId="2147471456"/>
            <ac:spMk id="11" creationId="{3F90B5D8-1075-B31A-256A-2D4FFFDB6D7C}"/>
          </ac:spMkLst>
        </pc:spChg>
        <pc:spChg chg="mod">
          <ac:chgData name="Jason Madden" userId="bc5fc663-4acf-4c70-beae-e4d4354e4ea1" providerId="ADAL" clId="{9242D02F-3850-469A-9E84-08401F66F885}" dt="2022-11-23T00:49:14.340" v="11670"/>
          <ac:spMkLst>
            <pc:docMk/>
            <pc:sldMk cId="2028211501" sldId="2147471456"/>
            <ac:spMk id="12" creationId="{CBE795A9-F446-B523-E210-A9D8DBECE72C}"/>
          </ac:spMkLst>
        </pc:spChg>
        <pc:spChg chg="add del mod modVis">
          <ac:chgData name="Jason Madden" userId="bc5fc663-4acf-4c70-beae-e4d4354e4ea1" providerId="ADAL" clId="{9242D02F-3850-469A-9E84-08401F66F885}" dt="2022-11-23T00:30:48.112" v="2848"/>
          <ac:spMkLst>
            <pc:docMk/>
            <pc:sldMk cId="2028211501" sldId="2147471456"/>
            <ac:spMk id="15" creationId="{DCEF9CB4-BD59-2809-BEC3-7F4A3CB0E449}"/>
          </ac:spMkLst>
        </pc:spChg>
        <pc:spChg chg="add del mod ord replST">
          <ac:chgData name="Jason Madden" userId="bc5fc663-4acf-4c70-beae-e4d4354e4ea1" providerId="ADAL" clId="{9242D02F-3850-469A-9E84-08401F66F885}" dt="2022-11-23T00:47:40.007" v="10160"/>
          <ac:spMkLst>
            <pc:docMk/>
            <pc:sldMk cId="2028211501" sldId="2147471456"/>
            <ac:spMk id="17" creationId="{EC072D2D-7596-7660-0437-1BD8BC73CB3C}"/>
          </ac:spMkLst>
        </pc:spChg>
        <pc:spChg chg="add del mod ord replST">
          <ac:chgData name="Jason Madden" userId="bc5fc663-4acf-4c70-beae-e4d4354e4ea1" providerId="ADAL" clId="{9242D02F-3850-469A-9E84-08401F66F885}" dt="2022-11-23T00:47:40.003" v="10158"/>
          <ac:spMkLst>
            <pc:docMk/>
            <pc:sldMk cId="2028211501" sldId="2147471456"/>
            <ac:spMk id="18" creationId="{838A61C8-BE92-6992-A5EF-F69F00CB0089}"/>
          </ac:spMkLst>
        </pc:spChg>
        <pc:spChg chg="add del mod replST">
          <ac:chgData name="Jason Madden" userId="bc5fc663-4acf-4c70-beae-e4d4354e4ea1" providerId="ADAL" clId="{9242D02F-3850-469A-9E84-08401F66F885}" dt="2022-11-23T00:47:40.007" v="10161"/>
          <ac:spMkLst>
            <pc:docMk/>
            <pc:sldMk cId="2028211501" sldId="2147471456"/>
            <ac:spMk id="20" creationId="{BF095A45-4CFC-7B1A-A5F7-EA314F12F6F1}"/>
          </ac:spMkLst>
        </pc:spChg>
        <pc:spChg chg="add del mod modVis">
          <ac:chgData name="Jason Madden" userId="bc5fc663-4acf-4c70-beae-e4d4354e4ea1" providerId="ADAL" clId="{9242D02F-3850-469A-9E84-08401F66F885}" dt="2022-11-23T00:30:51.471" v="3078"/>
          <ac:spMkLst>
            <pc:docMk/>
            <pc:sldMk cId="2028211501" sldId="2147471456"/>
            <ac:spMk id="21" creationId="{D3285CFB-45FA-59BD-B00D-1CC2637CECC4}"/>
          </ac:spMkLst>
        </pc:spChg>
        <pc:spChg chg="add del mod modVis">
          <ac:chgData name="Jason Madden" userId="bc5fc663-4acf-4c70-beae-e4d4354e4ea1" providerId="ADAL" clId="{9242D02F-3850-469A-9E84-08401F66F885}" dt="2022-11-23T00:31:00.251" v="3160"/>
          <ac:spMkLst>
            <pc:docMk/>
            <pc:sldMk cId="2028211501" sldId="2147471456"/>
            <ac:spMk id="22" creationId="{86EA3369-A305-BAFC-87FD-82B633D78004}"/>
          </ac:spMkLst>
        </pc:spChg>
        <pc:spChg chg="del mod ord">
          <ac:chgData name="Jason Madden" userId="bc5fc663-4acf-4c70-beae-e4d4354e4ea1" providerId="ADAL" clId="{9242D02F-3850-469A-9E84-08401F66F885}" dt="2022-11-23T00:49:40.563" v="11676" actId="478"/>
          <ac:spMkLst>
            <pc:docMk/>
            <pc:sldMk cId="2028211501" sldId="2147471456"/>
            <ac:spMk id="44" creationId="{6B2B5AC6-D70E-7350-348F-A5FBA9236711}"/>
          </ac:spMkLst>
        </pc:spChg>
        <pc:spChg chg="add mod ord replST">
          <ac:chgData name="Jason Madden" userId="bc5fc663-4acf-4c70-beae-e4d4354e4ea1" providerId="ADAL" clId="{9242D02F-3850-469A-9E84-08401F66F885}" dt="2022-11-23T00:48:48.435" v="11259"/>
          <ac:spMkLst>
            <pc:docMk/>
            <pc:sldMk cId="2028211501" sldId="2147471456"/>
            <ac:spMk id="67" creationId="{24E80BCF-1B72-ABF1-E7A6-CB4C67AC9611}"/>
          </ac:spMkLst>
        </pc:spChg>
        <pc:spChg chg="add mod ord replST">
          <ac:chgData name="Jason Madden" userId="bc5fc663-4acf-4c70-beae-e4d4354e4ea1" providerId="ADAL" clId="{9242D02F-3850-469A-9E84-08401F66F885}" dt="2022-11-23T00:49:14.334" v="11663"/>
          <ac:spMkLst>
            <pc:docMk/>
            <pc:sldMk cId="2028211501" sldId="2147471456"/>
            <ac:spMk id="68" creationId="{74CEE50B-BBD8-6AA7-90DA-E66F679E67D7}"/>
          </ac:spMkLst>
        </pc:spChg>
        <pc:spChg chg="add mod replST">
          <ac:chgData name="Jason Madden" userId="bc5fc663-4acf-4c70-beae-e4d4354e4ea1" providerId="ADAL" clId="{9242D02F-3850-469A-9E84-08401F66F885}" dt="2022-11-23T00:49:14.311" v="11646"/>
          <ac:spMkLst>
            <pc:docMk/>
            <pc:sldMk cId="2028211501" sldId="2147471456"/>
            <ac:spMk id="69" creationId="{8E0DE4B5-1208-64E4-9247-A013BDB71BAC}"/>
          </ac:spMkLst>
        </pc:spChg>
        <pc:spChg chg="add del mod modVis">
          <ac:chgData name="Jason Madden" userId="bc5fc663-4acf-4c70-beae-e4d4354e4ea1" providerId="ADAL" clId="{9242D02F-3850-469A-9E84-08401F66F885}" dt="2022-11-23T00:32:19.831" v="3844"/>
          <ac:spMkLst>
            <pc:docMk/>
            <pc:sldMk cId="2028211501" sldId="2147471456"/>
            <ac:spMk id="70" creationId="{93F1FAEC-F58D-AD58-E460-EB976D577D62}"/>
          </ac:spMkLst>
        </pc:spChg>
        <pc:spChg chg="mod ord">
          <ac:chgData name="Jason Madden" userId="bc5fc663-4acf-4c70-beae-e4d4354e4ea1" providerId="ADAL" clId="{9242D02F-3850-469A-9E84-08401F66F885}" dt="2022-11-23T00:48:48.434" v="11253"/>
          <ac:spMkLst>
            <pc:docMk/>
            <pc:sldMk cId="2028211501" sldId="2147471456"/>
            <ac:spMk id="72" creationId="{A68314C0-4CD7-6CCD-D09A-DEF24D1B2F80}"/>
          </ac:spMkLst>
        </pc:spChg>
        <pc:spChg chg="mod ord">
          <ac:chgData name="Jason Madden" userId="bc5fc663-4acf-4c70-beae-e4d4354e4ea1" providerId="ADAL" clId="{9242D02F-3850-469A-9E84-08401F66F885}" dt="2022-11-23T00:48:51.311" v="11424"/>
          <ac:spMkLst>
            <pc:docMk/>
            <pc:sldMk cId="2028211501" sldId="2147471456"/>
            <ac:spMk id="73" creationId="{B1ABF790-8B04-3986-52E1-78F7AE47863B}"/>
          </ac:spMkLst>
        </pc:spChg>
        <pc:spChg chg="del mod ord">
          <ac:chgData name="Jason Madden" userId="bc5fc663-4acf-4c70-beae-e4d4354e4ea1" providerId="ADAL" clId="{9242D02F-3850-469A-9E84-08401F66F885}" dt="2022-11-23T00:48:51.246" v="11338"/>
          <ac:spMkLst>
            <pc:docMk/>
            <pc:sldMk cId="2028211501" sldId="2147471456"/>
            <ac:spMk id="74" creationId="{EEDB62AC-C96F-CC4E-F2CF-290832C204A8}"/>
          </ac:spMkLst>
        </pc:spChg>
        <pc:spChg chg="mod ord">
          <ac:chgData name="Jason Madden" userId="bc5fc663-4acf-4c70-beae-e4d4354e4ea1" providerId="ADAL" clId="{9242D02F-3850-469A-9E84-08401F66F885}" dt="2022-11-23T00:48:51.307" v="11414"/>
          <ac:spMkLst>
            <pc:docMk/>
            <pc:sldMk cId="2028211501" sldId="2147471456"/>
            <ac:spMk id="75" creationId="{65A2B6DB-48DF-6C6E-B057-965066407C21}"/>
          </ac:spMkLst>
        </pc:spChg>
        <pc:spChg chg="mod ord">
          <ac:chgData name="Jason Madden" userId="bc5fc663-4acf-4c70-beae-e4d4354e4ea1" providerId="ADAL" clId="{9242D02F-3850-469A-9E84-08401F66F885}" dt="2022-11-23T00:48:48.434" v="11255"/>
          <ac:spMkLst>
            <pc:docMk/>
            <pc:sldMk cId="2028211501" sldId="2147471456"/>
            <ac:spMk id="76" creationId="{3DEA501C-114A-8B0E-8C75-6C208EE90A47}"/>
          </ac:spMkLst>
        </pc:spChg>
        <pc:spChg chg="mod ord">
          <ac:chgData name="Jason Madden" userId="bc5fc663-4acf-4c70-beae-e4d4354e4ea1" providerId="ADAL" clId="{9242D02F-3850-469A-9E84-08401F66F885}" dt="2022-11-23T00:48:51.286" v="11362"/>
          <ac:spMkLst>
            <pc:docMk/>
            <pc:sldMk cId="2028211501" sldId="2147471456"/>
            <ac:spMk id="77" creationId="{E759E092-A861-DBDF-9093-B48BC84886E6}"/>
          </ac:spMkLst>
        </pc:spChg>
        <pc:spChg chg="add del mod modVis">
          <ac:chgData name="Jason Madden" userId="bc5fc663-4acf-4c70-beae-e4d4354e4ea1" providerId="ADAL" clId="{9242D02F-3850-469A-9E84-08401F66F885}" dt="2022-11-23T00:32:39.248" v="3927"/>
          <ac:spMkLst>
            <pc:docMk/>
            <pc:sldMk cId="2028211501" sldId="2147471456"/>
            <ac:spMk id="78" creationId="{ACA03479-8BA1-3F58-B33D-1504BC18D1E1}"/>
          </ac:spMkLst>
        </pc:spChg>
        <pc:spChg chg="add del mod modVis">
          <ac:chgData name="Jason Madden" userId="bc5fc663-4acf-4c70-beae-e4d4354e4ea1" providerId="ADAL" clId="{9242D02F-3850-469A-9E84-08401F66F885}" dt="2022-11-23T00:33:45.185" v="4009"/>
          <ac:spMkLst>
            <pc:docMk/>
            <pc:sldMk cId="2028211501" sldId="2147471456"/>
            <ac:spMk id="79" creationId="{3DAF5A54-DF2E-FF8B-CBAF-007AAF4E4930}"/>
          </ac:spMkLst>
        </pc:spChg>
        <pc:spChg chg="add del mod modVis">
          <ac:chgData name="Jason Madden" userId="bc5fc663-4acf-4c70-beae-e4d4354e4ea1" providerId="ADAL" clId="{9242D02F-3850-469A-9E84-08401F66F885}" dt="2022-11-23T00:34:19.175" v="4555"/>
          <ac:spMkLst>
            <pc:docMk/>
            <pc:sldMk cId="2028211501" sldId="2147471456"/>
            <ac:spMk id="80" creationId="{A331FF9C-1E41-5111-FDD1-45CB57013BF0}"/>
          </ac:spMkLst>
        </pc:spChg>
        <pc:spChg chg="add del mod modVis">
          <ac:chgData name="Jason Madden" userId="bc5fc663-4acf-4c70-beae-e4d4354e4ea1" providerId="ADAL" clId="{9242D02F-3850-469A-9E84-08401F66F885}" dt="2022-11-23T00:46:01.874" v="5838"/>
          <ac:spMkLst>
            <pc:docMk/>
            <pc:sldMk cId="2028211501" sldId="2147471456"/>
            <ac:spMk id="81" creationId="{BA2A39AD-14B2-F073-E95A-65A0A51E32B5}"/>
          </ac:spMkLst>
        </pc:spChg>
        <pc:spChg chg="add del mod modVis">
          <ac:chgData name="Jason Madden" userId="bc5fc663-4acf-4c70-beae-e4d4354e4ea1" providerId="ADAL" clId="{9242D02F-3850-469A-9E84-08401F66F885}" dt="2022-11-23T00:46:09.559" v="5919"/>
          <ac:spMkLst>
            <pc:docMk/>
            <pc:sldMk cId="2028211501" sldId="2147471456"/>
            <ac:spMk id="82" creationId="{782FA097-E8FA-284C-C7B2-B7D034206A73}"/>
          </ac:spMkLst>
        </pc:spChg>
        <pc:spChg chg="add del mod modVis">
          <ac:chgData name="Jason Madden" userId="bc5fc663-4acf-4c70-beae-e4d4354e4ea1" providerId="ADAL" clId="{9242D02F-3850-469A-9E84-08401F66F885}" dt="2022-11-23T00:46:14.536" v="6002"/>
          <ac:spMkLst>
            <pc:docMk/>
            <pc:sldMk cId="2028211501" sldId="2147471456"/>
            <ac:spMk id="83" creationId="{79C6423C-FFA3-D97C-13C8-E1CD646C8F36}"/>
          </ac:spMkLst>
        </pc:spChg>
        <pc:spChg chg="add del mod modVis">
          <ac:chgData name="Jason Madden" userId="bc5fc663-4acf-4c70-beae-e4d4354e4ea1" providerId="ADAL" clId="{9242D02F-3850-469A-9E84-08401F66F885}" dt="2022-11-23T00:46:55.220" v="7355"/>
          <ac:spMkLst>
            <pc:docMk/>
            <pc:sldMk cId="2028211501" sldId="2147471456"/>
            <ac:spMk id="84" creationId="{3BCC269B-3579-8C24-1998-3EDB1795B6AF}"/>
          </ac:spMkLst>
        </pc:spChg>
        <pc:spChg chg="add del mod modVis">
          <ac:chgData name="Jason Madden" userId="bc5fc663-4acf-4c70-beae-e4d4354e4ea1" providerId="ADAL" clId="{9242D02F-3850-469A-9E84-08401F66F885}" dt="2022-11-23T00:46:58.514" v="8671"/>
          <ac:spMkLst>
            <pc:docMk/>
            <pc:sldMk cId="2028211501" sldId="2147471456"/>
            <ac:spMk id="85" creationId="{214A5FE9-AAB8-C775-15E5-2D56536DF36F}"/>
          </ac:spMkLst>
        </pc:spChg>
        <pc:spChg chg="add del mod modVis">
          <ac:chgData name="Jason Madden" userId="bc5fc663-4acf-4c70-beae-e4d4354e4ea1" providerId="ADAL" clId="{9242D02F-3850-469A-9E84-08401F66F885}" dt="2022-11-23T00:47:20.652" v="9346"/>
          <ac:spMkLst>
            <pc:docMk/>
            <pc:sldMk cId="2028211501" sldId="2147471456"/>
            <ac:spMk id="86" creationId="{216A7218-158D-697A-6748-0DFB2DCE9CE9}"/>
          </ac:spMkLst>
        </pc:spChg>
        <pc:spChg chg="add mod ord replST">
          <ac:chgData name="Jason Madden" userId="bc5fc663-4acf-4c70-beae-e4d4354e4ea1" providerId="ADAL" clId="{9242D02F-3850-469A-9E84-08401F66F885}" dt="2022-11-23T00:48:48.438" v="11269"/>
          <ac:spMkLst>
            <pc:docMk/>
            <pc:sldMk cId="2028211501" sldId="2147471456"/>
            <ac:spMk id="87" creationId="{24DAAD48-968A-910A-3270-EBDB6B9CD32D}"/>
          </ac:spMkLst>
        </pc:spChg>
        <pc:spChg chg="add mod ord replST">
          <ac:chgData name="Jason Madden" userId="bc5fc663-4acf-4c70-beae-e4d4354e4ea1" providerId="ADAL" clId="{9242D02F-3850-469A-9E84-08401F66F885}" dt="2022-11-23T00:48:48.441" v="11283"/>
          <ac:spMkLst>
            <pc:docMk/>
            <pc:sldMk cId="2028211501" sldId="2147471456"/>
            <ac:spMk id="88" creationId="{8B63B891-14F4-2768-B9CF-4A862574934A}"/>
          </ac:spMkLst>
        </pc:spChg>
        <pc:spChg chg="add del mod replST">
          <ac:chgData name="Jason Madden" userId="bc5fc663-4acf-4c70-beae-e4d4354e4ea1" providerId="ADAL" clId="{9242D02F-3850-469A-9E84-08401F66F885}" dt="2022-11-23T00:47:27.331" v="9614"/>
          <ac:spMkLst>
            <pc:docMk/>
            <pc:sldMk cId="2028211501" sldId="2147471456"/>
            <ac:spMk id="89" creationId="{26BA0992-D452-07B3-1981-6D0C98BD56C9}"/>
          </ac:spMkLst>
        </pc:spChg>
        <pc:spChg chg="add del mod modVis">
          <ac:chgData name="Jason Madden" userId="bc5fc663-4acf-4c70-beae-e4d4354e4ea1" providerId="ADAL" clId="{9242D02F-3850-469A-9E84-08401F66F885}" dt="2022-11-23T00:47:23.290" v="9588"/>
          <ac:spMkLst>
            <pc:docMk/>
            <pc:sldMk cId="2028211501" sldId="2147471456"/>
            <ac:spMk id="90" creationId="{90F62D70-D855-FE97-6716-279CD6832F3D}"/>
          </ac:spMkLst>
        </pc:spChg>
        <pc:spChg chg="add del mod replST">
          <ac:chgData name="Jason Madden" userId="bc5fc663-4acf-4c70-beae-e4d4354e4ea1" providerId="ADAL" clId="{9242D02F-3850-469A-9E84-08401F66F885}" dt="2022-11-23T00:48:48.363" v="11154"/>
          <ac:spMkLst>
            <pc:docMk/>
            <pc:sldMk cId="2028211501" sldId="2147471456"/>
            <ac:spMk id="91" creationId="{A0E9DCEE-E4FA-ABB7-760A-E5C05EC5C58D}"/>
          </ac:spMkLst>
        </pc:spChg>
        <pc:spChg chg="add del mod modVis">
          <ac:chgData name="Jason Madden" userId="bc5fc663-4acf-4c70-beae-e4d4354e4ea1" providerId="ADAL" clId="{9242D02F-3850-469A-9E84-08401F66F885}" dt="2022-11-23T00:47:27.422" v="9830"/>
          <ac:spMkLst>
            <pc:docMk/>
            <pc:sldMk cId="2028211501" sldId="2147471456"/>
            <ac:spMk id="92" creationId="{4C0F245F-8739-885C-C070-2A898DA733D7}"/>
          </ac:spMkLst>
        </pc:spChg>
        <pc:spChg chg="add mod replST">
          <ac:chgData name="Jason Madden" userId="bc5fc663-4acf-4c70-beae-e4d4354e4ea1" providerId="ADAL" clId="{9242D02F-3850-469A-9E84-08401F66F885}" dt="2022-11-23T00:49:14.312" v="11648"/>
          <ac:spMkLst>
            <pc:docMk/>
            <pc:sldMk cId="2028211501" sldId="2147471456"/>
            <ac:spMk id="93" creationId="{E1DDCF6C-6680-D877-7888-9F6CB486BB1B}"/>
          </ac:spMkLst>
        </pc:spChg>
        <pc:spChg chg="add del mod modVis">
          <ac:chgData name="Jason Madden" userId="bc5fc663-4acf-4c70-beae-e4d4354e4ea1" providerId="ADAL" clId="{9242D02F-3850-469A-9E84-08401F66F885}" dt="2022-11-23T00:47:32.074" v="10071"/>
          <ac:spMkLst>
            <pc:docMk/>
            <pc:sldMk cId="2028211501" sldId="2147471456"/>
            <ac:spMk id="94" creationId="{331B05E2-6069-1219-0412-E0AA01873A65}"/>
          </ac:spMkLst>
        </pc:spChg>
        <pc:spChg chg="add del mod modVis">
          <ac:chgData name="Jason Madden" userId="bc5fc663-4acf-4c70-beae-e4d4354e4ea1" providerId="ADAL" clId="{9242D02F-3850-469A-9E84-08401F66F885}" dt="2022-11-23T00:47:37.062" v="10154"/>
          <ac:spMkLst>
            <pc:docMk/>
            <pc:sldMk cId="2028211501" sldId="2147471456"/>
            <ac:spMk id="95" creationId="{3F6B50F2-5D8B-0702-A96F-9FADF506C5EA}"/>
          </ac:spMkLst>
        </pc:spChg>
        <pc:spChg chg="add del mod modVis">
          <ac:chgData name="Jason Madden" userId="bc5fc663-4acf-4c70-beae-e4d4354e4ea1" providerId="ADAL" clId="{9242D02F-3850-469A-9E84-08401F66F885}" dt="2022-11-23T00:48:33.454" v="10670"/>
          <ac:spMkLst>
            <pc:docMk/>
            <pc:sldMk cId="2028211501" sldId="2147471456"/>
            <ac:spMk id="96" creationId="{2B38F755-6C9E-3EF4-61AD-594883966FA5}"/>
          </ac:spMkLst>
        </pc:spChg>
        <pc:spChg chg="add mod ord replST">
          <ac:chgData name="Jason Madden" userId="bc5fc663-4acf-4c70-beae-e4d4354e4ea1" providerId="ADAL" clId="{9242D02F-3850-469A-9E84-08401F66F885}" dt="2022-11-23T00:48:48.437" v="11267"/>
          <ac:spMkLst>
            <pc:docMk/>
            <pc:sldMk cId="2028211501" sldId="2147471456"/>
            <ac:spMk id="97" creationId="{CEA3ED20-0A5A-BDFB-DC57-8B4D78EE22F9}"/>
          </ac:spMkLst>
        </pc:spChg>
        <pc:spChg chg="mod ord">
          <ac:chgData name="Jason Madden" userId="bc5fc663-4acf-4c70-beae-e4d4354e4ea1" providerId="ADAL" clId="{9242D02F-3850-469A-9E84-08401F66F885}" dt="2022-11-23T00:48:51.308" v="11418"/>
          <ac:spMkLst>
            <pc:docMk/>
            <pc:sldMk cId="2028211501" sldId="2147471456"/>
            <ac:spMk id="98" creationId="{2415AABD-E3BC-3E91-6993-92EC074BAB8A}"/>
          </ac:spMkLst>
        </pc:spChg>
        <pc:spChg chg="del mod ord">
          <ac:chgData name="Jason Madden" userId="bc5fc663-4acf-4c70-beae-e4d4354e4ea1" providerId="ADAL" clId="{9242D02F-3850-469A-9E84-08401F66F885}" dt="2022-11-23T00:48:51.243" v="11336"/>
          <ac:spMkLst>
            <pc:docMk/>
            <pc:sldMk cId="2028211501" sldId="2147471456"/>
            <ac:spMk id="99" creationId="{0505A89D-18DB-7B89-48A0-AFC67D0386C2}"/>
          </ac:spMkLst>
        </pc:spChg>
        <pc:spChg chg="mod ord">
          <ac:chgData name="Jason Madden" userId="bc5fc663-4acf-4c70-beae-e4d4354e4ea1" providerId="ADAL" clId="{9242D02F-3850-469A-9E84-08401F66F885}" dt="2022-11-23T00:48:51.312" v="11428"/>
          <ac:spMkLst>
            <pc:docMk/>
            <pc:sldMk cId="2028211501" sldId="2147471456"/>
            <ac:spMk id="100" creationId="{38AF3932-925A-1EE1-0135-9CF1CC1126B9}"/>
          </ac:spMkLst>
        </pc:spChg>
        <pc:spChg chg="mod ord">
          <ac:chgData name="Jason Madden" userId="bc5fc663-4acf-4c70-beae-e4d4354e4ea1" providerId="ADAL" clId="{9242D02F-3850-469A-9E84-08401F66F885}" dt="2022-11-23T00:48:48.439" v="11275"/>
          <ac:spMkLst>
            <pc:docMk/>
            <pc:sldMk cId="2028211501" sldId="2147471456"/>
            <ac:spMk id="101" creationId="{3B213434-971A-9270-7332-C6743679E33B}"/>
          </ac:spMkLst>
        </pc:spChg>
        <pc:spChg chg="mod ord">
          <ac:chgData name="Jason Madden" userId="bc5fc663-4acf-4c70-beae-e4d4354e4ea1" providerId="ADAL" clId="{9242D02F-3850-469A-9E84-08401F66F885}" dt="2022-11-23T00:48:51.287" v="11366"/>
          <ac:spMkLst>
            <pc:docMk/>
            <pc:sldMk cId="2028211501" sldId="2147471456"/>
            <ac:spMk id="102" creationId="{6B939FA8-8DBA-5A5D-58F1-6094858345A9}"/>
          </ac:spMkLst>
        </pc:spChg>
        <pc:spChg chg="mod ord">
          <ac:chgData name="Jason Madden" userId="bc5fc663-4acf-4c70-beae-e4d4354e4ea1" providerId="ADAL" clId="{9242D02F-3850-469A-9E84-08401F66F885}" dt="2022-11-23T00:48:48.446" v="11305"/>
          <ac:spMkLst>
            <pc:docMk/>
            <pc:sldMk cId="2028211501" sldId="2147471456"/>
            <ac:spMk id="103" creationId="{68528F19-8C4C-AD30-E8AF-C39C262CA9EF}"/>
          </ac:spMkLst>
        </pc:spChg>
        <pc:spChg chg="mod ord">
          <ac:chgData name="Jason Madden" userId="bc5fc663-4acf-4c70-beae-e4d4354e4ea1" providerId="ADAL" clId="{9242D02F-3850-469A-9E84-08401F66F885}" dt="2022-11-23T00:48:48.445" v="11301"/>
          <ac:spMkLst>
            <pc:docMk/>
            <pc:sldMk cId="2028211501" sldId="2147471456"/>
            <ac:spMk id="104" creationId="{B3602E55-1C14-2AA3-70DF-D2F87923CB79}"/>
          </ac:spMkLst>
        </pc:spChg>
        <pc:spChg chg="mod ord">
          <ac:chgData name="Jason Madden" userId="bc5fc663-4acf-4c70-beae-e4d4354e4ea1" providerId="ADAL" clId="{9242D02F-3850-469A-9E84-08401F66F885}" dt="2022-11-23T00:48:48.442" v="11287"/>
          <ac:spMkLst>
            <pc:docMk/>
            <pc:sldMk cId="2028211501" sldId="2147471456"/>
            <ac:spMk id="105" creationId="{332FD281-1C69-297E-8D88-4E4FF84BD849}"/>
          </ac:spMkLst>
        </pc:spChg>
        <pc:spChg chg="mod ord">
          <ac:chgData name="Jason Madden" userId="bc5fc663-4acf-4c70-beae-e4d4354e4ea1" providerId="ADAL" clId="{9242D02F-3850-469A-9E84-08401F66F885}" dt="2022-11-23T00:48:51.292" v="11378"/>
          <ac:spMkLst>
            <pc:docMk/>
            <pc:sldMk cId="2028211501" sldId="2147471456"/>
            <ac:spMk id="106" creationId="{B3DFA1F6-6AEE-0C6A-04D7-A15C483F273A}"/>
          </ac:spMkLst>
        </pc:spChg>
        <pc:spChg chg="mod ord">
          <ac:chgData name="Jason Madden" userId="bc5fc663-4acf-4c70-beae-e4d4354e4ea1" providerId="ADAL" clId="{9242D02F-3850-469A-9E84-08401F66F885}" dt="2022-11-23T00:48:48.444" v="11295"/>
          <ac:spMkLst>
            <pc:docMk/>
            <pc:sldMk cId="2028211501" sldId="2147471456"/>
            <ac:spMk id="107" creationId="{F05F47CD-FB5D-0258-0738-6F645C9D4C26}"/>
          </ac:spMkLst>
        </pc:spChg>
        <pc:spChg chg="add mod ord replST">
          <ac:chgData name="Jason Madden" userId="bc5fc663-4acf-4c70-beae-e4d4354e4ea1" providerId="ADAL" clId="{9242D02F-3850-469A-9E84-08401F66F885}" dt="2022-11-23T00:49:10.044" v="11628" actId="16931"/>
          <ac:spMkLst>
            <pc:docMk/>
            <pc:sldMk cId="2028211501" sldId="2147471456"/>
            <ac:spMk id="108" creationId="{C812B28F-A3F0-F808-2BCB-1602739D2F46}"/>
          </ac:spMkLst>
        </pc:spChg>
        <pc:spChg chg="mod ord">
          <ac:chgData name="Jason Madden" userId="bc5fc663-4acf-4c70-beae-e4d4354e4ea1" providerId="ADAL" clId="{9242D02F-3850-469A-9E84-08401F66F885}" dt="2022-11-23T00:48:51.299" v="11396"/>
          <ac:spMkLst>
            <pc:docMk/>
            <pc:sldMk cId="2028211501" sldId="2147471456"/>
            <ac:spMk id="109" creationId="{C64B1B19-D90B-C216-C5DC-268C67689413}"/>
          </ac:spMkLst>
        </pc:spChg>
        <pc:spChg chg="mod ord">
          <ac:chgData name="Jason Madden" userId="bc5fc663-4acf-4c70-beae-e4d4354e4ea1" providerId="ADAL" clId="{9242D02F-3850-469A-9E84-08401F66F885}" dt="2022-11-23T00:48:51.294" v="11384"/>
          <ac:spMkLst>
            <pc:docMk/>
            <pc:sldMk cId="2028211501" sldId="2147471456"/>
            <ac:spMk id="110" creationId="{5F5815CE-AF69-0150-61AA-93A5FB4E1A93}"/>
          </ac:spMkLst>
        </pc:spChg>
        <pc:spChg chg="mod ord">
          <ac:chgData name="Jason Madden" userId="bc5fc663-4acf-4c70-beae-e4d4354e4ea1" providerId="ADAL" clId="{9242D02F-3850-469A-9E84-08401F66F885}" dt="2022-11-23T00:48:51.290" v="11372"/>
          <ac:spMkLst>
            <pc:docMk/>
            <pc:sldMk cId="2028211501" sldId="2147471456"/>
            <ac:spMk id="111" creationId="{F317A62F-58AF-C1FB-B3EB-4D4EFF0FEAAB}"/>
          </ac:spMkLst>
        </pc:spChg>
        <pc:spChg chg="mod ord">
          <ac:chgData name="Jason Madden" userId="bc5fc663-4acf-4c70-beae-e4d4354e4ea1" providerId="ADAL" clId="{9242D02F-3850-469A-9E84-08401F66F885}" dt="2022-11-23T00:48:51.301" v="11402"/>
          <ac:spMkLst>
            <pc:docMk/>
            <pc:sldMk cId="2028211501" sldId="2147471456"/>
            <ac:spMk id="112" creationId="{AEFF1ED7-A6B4-B3A9-9A57-0FF57CC5A427}"/>
          </ac:spMkLst>
        </pc:spChg>
        <pc:spChg chg="mod ord">
          <ac:chgData name="Jason Madden" userId="bc5fc663-4acf-4c70-beae-e4d4354e4ea1" providerId="ADAL" clId="{9242D02F-3850-469A-9E84-08401F66F885}" dt="2022-11-23T00:48:51.296" v="11390"/>
          <ac:spMkLst>
            <pc:docMk/>
            <pc:sldMk cId="2028211501" sldId="2147471456"/>
            <ac:spMk id="113" creationId="{BD4CF2D3-CFC1-78D0-7934-10C7223CE61F}"/>
          </ac:spMkLst>
        </pc:spChg>
        <pc:spChg chg="add mod replST">
          <ac:chgData name="Jason Madden" userId="bc5fc663-4acf-4c70-beae-e4d4354e4ea1" providerId="ADAL" clId="{9242D02F-3850-469A-9E84-08401F66F885}" dt="2022-11-23T00:49:14.312" v="11647"/>
          <ac:spMkLst>
            <pc:docMk/>
            <pc:sldMk cId="2028211501" sldId="2147471456"/>
            <ac:spMk id="114" creationId="{4DDF63C4-9881-A3ED-181B-D095D8FA0678}"/>
          </ac:spMkLst>
        </pc:spChg>
        <pc:spChg chg="mod ord">
          <ac:chgData name="Jason Madden" userId="bc5fc663-4acf-4c70-beae-e4d4354e4ea1" providerId="ADAL" clId="{9242D02F-3850-469A-9E84-08401F66F885}" dt="2022-11-23T00:48:51.304" v="11408"/>
          <ac:spMkLst>
            <pc:docMk/>
            <pc:sldMk cId="2028211501" sldId="2147471456"/>
            <ac:spMk id="115" creationId="{E6FBB633-67FE-F8A6-D92D-3718C1EA96AA}"/>
          </ac:spMkLst>
        </pc:spChg>
        <pc:spChg chg="add del mod modVis">
          <ac:chgData name="Jason Madden" userId="bc5fc663-4acf-4c70-beae-e4d4354e4ea1" providerId="ADAL" clId="{9242D02F-3850-469A-9E84-08401F66F885}" dt="2022-11-23T00:48:48.456" v="11332"/>
          <ac:spMkLst>
            <pc:docMk/>
            <pc:sldMk cId="2028211501" sldId="2147471456"/>
            <ac:spMk id="116" creationId="{D2495404-157B-109C-FD61-58E64ADA7632}"/>
          </ac:spMkLst>
        </pc:spChg>
        <pc:spChg chg="mod">
          <ac:chgData name="Jason Madden" userId="bc5fc663-4acf-4c70-beae-e4d4354e4ea1" providerId="ADAL" clId="{9242D02F-3850-469A-9E84-08401F66F885}" dt="2022-11-23T00:49:14.307" v="11641"/>
          <ac:spMkLst>
            <pc:docMk/>
            <pc:sldMk cId="2028211501" sldId="2147471456"/>
            <ac:spMk id="117" creationId="{FE5D2180-13FC-C820-0D23-27897C54AB7D}"/>
          </ac:spMkLst>
        </pc:spChg>
        <pc:spChg chg="mod">
          <ac:chgData name="Jason Madden" userId="bc5fc663-4acf-4c70-beae-e4d4354e4ea1" providerId="ADAL" clId="{9242D02F-3850-469A-9E84-08401F66F885}" dt="2022-11-23T00:49:14.309" v="11642"/>
          <ac:spMkLst>
            <pc:docMk/>
            <pc:sldMk cId="2028211501" sldId="2147471456"/>
            <ac:spMk id="119" creationId="{31D5349D-4CC9-71EA-408C-E1821F1C5C4D}"/>
          </ac:spMkLst>
        </pc:spChg>
        <pc:spChg chg="mod">
          <ac:chgData name="Jason Madden" userId="bc5fc663-4acf-4c70-beae-e4d4354e4ea1" providerId="ADAL" clId="{9242D02F-3850-469A-9E84-08401F66F885}" dt="2022-11-23T00:49:14.309" v="11643"/>
          <ac:spMkLst>
            <pc:docMk/>
            <pc:sldMk cId="2028211501" sldId="2147471456"/>
            <ac:spMk id="121" creationId="{DB3F2855-CFD9-6B40-5A4F-4270A6515471}"/>
          </ac:spMkLst>
        </pc:spChg>
        <pc:spChg chg="mod">
          <ac:chgData name="Jason Madden" userId="bc5fc663-4acf-4c70-beae-e4d4354e4ea1" providerId="ADAL" clId="{9242D02F-3850-469A-9E84-08401F66F885}" dt="2022-11-23T00:49:14.319" v="11658"/>
          <ac:spMkLst>
            <pc:docMk/>
            <pc:sldMk cId="2028211501" sldId="2147471456"/>
            <ac:spMk id="123" creationId="{31F1E6C2-F2E5-D398-ED2E-B40D041089A8}"/>
          </ac:spMkLst>
        </pc:spChg>
        <pc:spChg chg="mod">
          <ac:chgData name="Jason Madden" userId="bc5fc663-4acf-4c70-beae-e4d4354e4ea1" providerId="ADAL" clId="{9242D02F-3850-469A-9E84-08401F66F885}" dt="2022-11-23T00:49:14.314" v="11651"/>
          <ac:spMkLst>
            <pc:docMk/>
            <pc:sldMk cId="2028211501" sldId="2147471456"/>
            <ac:spMk id="125" creationId="{8EA255C5-4B5C-189F-7145-E2CC1E84AC31}"/>
          </ac:spMkLst>
        </pc:spChg>
        <pc:spChg chg="mod">
          <ac:chgData name="Jason Madden" userId="bc5fc663-4acf-4c70-beae-e4d4354e4ea1" providerId="ADAL" clId="{9242D02F-3850-469A-9E84-08401F66F885}" dt="2022-11-23T00:49:14.313" v="11650"/>
          <ac:spMkLst>
            <pc:docMk/>
            <pc:sldMk cId="2028211501" sldId="2147471456"/>
            <ac:spMk id="127" creationId="{7CB45B0E-68F8-15E1-B198-3F9C1FC258D0}"/>
          </ac:spMkLst>
        </pc:spChg>
        <pc:spChg chg="mod">
          <ac:chgData name="Jason Madden" userId="bc5fc663-4acf-4c70-beae-e4d4354e4ea1" providerId="ADAL" clId="{9242D02F-3850-469A-9E84-08401F66F885}" dt="2022-11-23T00:49:14.315" v="11652"/>
          <ac:spMkLst>
            <pc:docMk/>
            <pc:sldMk cId="2028211501" sldId="2147471456"/>
            <ac:spMk id="128" creationId="{6847B283-1B9C-330F-8790-A7A8403ABC27}"/>
          </ac:spMkLst>
        </pc:spChg>
        <pc:spChg chg="mod">
          <ac:chgData name="Jason Madden" userId="bc5fc663-4acf-4c70-beae-e4d4354e4ea1" providerId="ADAL" clId="{9242D02F-3850-469A-9E84-08401F66F885}" dt="2022-11-23T00:49:14.316" v="11655"/>
          <ac:spMkLst>
            <pc:docMk/>
            <pc:sldMk cId="2028211501" sldId="2147471456"/>
            <ac:spMk id="129" creationId="{5A2886DF-1C0D-272F-BCA9-B7E1CCF74215}"/>
          </ac:spMkLst>
        </pc:spChg>
        <pc:spChg chg="mod">
          <ac:chgData name="Jason Madden" userId="bc5fc663-4acf-4c70-beae-e4d4354e4ea1" providerId="ADAL" clId="{9242D02F-3850-469A-9E84-08401F66F885}" dt="2022-11-23T00:49:14.319" v="11659"/>
          <ac:spMkLst>
            <pc:docMk/>
            <pc:sldMk cId="2028211501" sldId="2147471456"/>
            <ac:spMk id="131" creationId="{25226CD5-EE3E-DD17-3BB5-B7F4C980CD93}"/>
          </ac:spMkLst>
        </pc:spChg>
        <pc:spChg chg="mod">
          <ac:chgData name="Jason Madden" userId="bc5fc663-4acf-4c70-beae-e4d4354e4ea1" providerId="ADAL" clId="{9242D02F-3850-469A-9E84-08401F66F885}" dt="2022-11-23T00:49:14.313" v="11649"/>
          <ac:spMkLst>
            <pc:docMk/>
            <pc:sldMk cId="2028211501" sldId="2147471456"/>
            <ac:spMk id="132" creationId="{CCAF67C8-6027-6EC0-FED7-33C0E4E01F50}"/>
          </ac:spMkLst>
        </pc:spChg>
        <pc:spChg chg="mod">
          <ac:chgData name="Jason Madden" userId="bc5fc663-4acf-4c70-beae-e4d4354e4ea1" providerId="ADAL" clId="{9242D02F-3850-469A-9E84-08401F66F885}" dt="2022-11-23T00:49:14.315" v="11653"/>
          <ac:spMkLst>
            <pc:docMk/>
            <pc:sldMk cId="2028211501" sldId="2147471456"/>
            <ac:spMk id="134" creationId="{5FC180D8-DA9F-4834-4637-4AF269F9120D}"/>
          </ac:spMkLst>
        </pc:spChg>
        <pc:spChg chg="mod">
          <ac:chgData name="Jason Madden" userId="bc5fc663-4acf-4c70-beae-e4d4354e4ea1" providerId="ADAL" clId="{9242D02F-3850-469A-9E84-08401F66F885}" dt="2022-11-23T00:49:14.316" v="11654"/>
          <ac:spMkLst>
            <pc:docMk/>
            <pc:sldMk cId="2028211501" sldId="2147471456"/>
            <ac:spMk id="136" creationId="{44D393C8-C831-856B-9ABD-5B0E9D89E933}"/>
          </ac:spMkLst>
        </pc:spChg>
        <pc:spChg chg="mod">
          <ac:chgData name="Jason Madden" userId="bc5fc663-4acf-4c70-beae-e4d4354e4ea1" providerId="ADAL" clId="{9242D02F-3850-469A-9E84-08401F66F885}" dt="2022-11-23T00:49:14.318" v="11657"/>
          <ac:spMkLst>
            <pc:docMk/>
            <pc:sldMk cId="2028211501" sldId="2147471456"/>
            <ac:spMk id="137" creationId="{D8C1E19D-97D4-6F58-4B05-AD30D09DC694}"/>
          </ac:spMkLst>
        </pc:spChg>
        <pc:spChg chg="del mod">
          <ac:chgData name="Jason Madden" userId="bc5fc663-4acf-4c70-beae-e4d4354e4ea1" providerId="ADAL" clId="{9242D02F-3850-469A-9E84-08401F66F885}" dt="2022-11-23T00:47:23.224" v="9410"/>
          <ac:spMkLst>
            <pc:docMk/>
            <pc:sldMk cId="2028211501" sldId="2147471456"/>
            <ac:spMk id="138" creationId="{22437D25-28A6-1198-8705-8AB5DC665FBE}"/>
          </ac:spMkLst>
        </pc:spChg>
        <pc:spChg chg="mod">
          <ac:chgData name="Jason Madden" userId="bc5fc663-4acf-4c70-beae-e4d4354e4ea1" providerId="ADAL" clId="{9242D02F-3850-469A-9E84-08401F66F885}" dt="2022-11-23T00:49:14.311" v="11645"/>
          <ac:spMkLst>
            <pc:docMk/>
            <pc:sldMk cId="2028211501" sldId="2147471456"/>
            <ac:spMk id="140" creationId="{F63F4E5C-C653-01EC-E28F-B464FB47E276}"/>
          </ac:spMkLst>
        </pc:spChg>
        <pc:spChg chg="mod">
          <ac:chgData name="Jason Madden" userId="bc5fc663-4acf-4c70-beae-e4d4354e4ea1" providerId="ADAL" clId="{9242D02F-3850-469A-9E84-08401F66F885}" dt="2022-11-23T00:49:14.310" v="11644"/>
          <ac:spMkLst>
            <pc:docMk/>
            <pc:sldMk cId="2028211501" sldId="2147471456"/>
            <ac:spMk id="141" creationId="{C9DAF32D-36AE-41EB-7CCE-CC3950C48C3B}"/>
          </ac:spMkLst>
        </pc:spChg>
        <pc:spChg chg="mod">
          <ac:chgData name="Jason Madden" userId="bc5fc663-4acf-4c70-beae-e4d4354e4ea1" providerId="ADAL" clId="{9242D02F-3850-469A-9E84-08401F66F885}" dt="2022-11-23T00:49:14.317" v="11656"/>
          <ac:spMkLst>
            <pc:docMk/>
            <pc:sldMk cId="2028211501" sldId="2147471456"/>
            <ac:spMk id="142" creationId="{0227BD98-5406-B296-7D37-89834D31F712}"/>
          </ac:spMkLst>
        </pc:spChg>
        <pc:grpChg chg="del mod ord">
          <ac:chgData name="Jason Madden" userId="bc5fc663-4acf-4c70-beae-e4d4354e4ea1" providerId="ADAL" clId="{9242D02F-3850-469A-9E84-08401F66F885}" dt="2022-11-23T00:49:38.683" v="11675" actId="478"/>
          <ac:grpSpMkLst>
            <pc:docMk/>
            <pc:sldMk cId="2028211501" sldId="2147471456"/>
            <ac:grpSpMk id="26" creationId="{9BBBF82D-CB2D-B493-B59C-6AE6D067976D}"/>
          </ac:grpSpMkLst>
        </pc:grpChg>
        <pc:graphicFrameChg chg="mod">
          <ac:chgData name="Jason Madden" userId="bc5fc663-4acf-4c70-beae-e4d4354e4ea1" providerId="ADAL" clId="{9242D02F-3850-469A-9E84-08401F66F885}" dt="2022-11-23T00:49:14.356" v="11674"/>
          <ac:graphicFrameMkLst>
            <pc:docMk/>
            <pc:sldMk cId="2028211501" sldId="2147471456"/>
            <ac:graphicFrameMk id="5" creationId="{28422D06-2229-6E64-B273-7B2A487F59F1}"/>
          </ac:graphicFrameMkLst>
        </pc:graphicFrameChg>
        <pc:cxnChg chg="mod ord">
          <ac:chgData name="Jason Madden" userId="bc5fc663-4acf-4c70-beae-e4d4354e4ea1" providerId="ADAL" clId="{9242D02F-3850-469A-9E84-08401F66F885}" dt="2022-11-23T00:48:51.325" v="11449"/>
          <ac:cxnSpMkLst>
            <pc:docMk/>
            <pc:sldMk cId="2028211501" sldId="2147471456"/>
            <ac:cxnSpMk id="13" creationId="{97408E23-DAF3-E4F6-1153-16B5BBDE93BD}"/>
          </ac:cxnSpMkLst>
        </pc:cxnChg>
        <pc:cxnChg chg="mod ord">
          <ac:chgData name="Jason Madden" userId="bc5fc663-4acf-4c70-beae-e4d4354e4ea1" providerId="ADAL" clId="{9242D02F-3850-469A-9E84-08401F66F885}" dt="2022-11-23T00:48:51.361" v="11545"/>
          <ac:cxnSpMkLst>
            <pc:docMk/>
            <pc:sldMk cId="2028211501" sldId="2147471456"/>
            <ac:cxnSpMk id="14" creationId="{4FA6C3B9-D13B-7236-D59C-30DA26C475EC}"/>
          </ac:cxnSpMkLst>
        </pc:cxnChg>
        <pc:cxnChg chg="mod ord">
          <ac:chgData name="Jason Madden" userId="bc5fc663-4acf-4c70-beae-e4d4354e4ea1" providerId="ADAL" clId="{9242D02F-3850-469A-9E84-08401F66F885}" dt="2022-11-23T00:48:51.360" v="11541"/>
          <ac:cxnSpMkLst>
            <pc:docMk/>
            <pc:sldMk cId="2028211501" sldId="2147471456"/>
            <ac:cxnSpMk id="16" creationId="{3A32C0AC-06AF-CD59-7EFE-8D3B1A72130A}"/>
          </ac:cxnSpMkLst>
        </pc:cxnChg>
        <pc:cxnChg chg="mod ord">
          <ac:chgData name="Jason Madden" userId="bc5fc663-4acf-4c70-beae-e4d4354e4ea1" providerId="ADAL" clId="{9242D02F-3850-469A-9E84-08401F66F885}" dt="2022-11-23T00:48:51.326" v="11453"/>
          <ac:cxnSpMkLst>
            <pc:docMk/>
            <pc:sldMk cId="2028211501" sldId="2147471456"/>
            <ac:cxnSpMk id="19" creationId="{31D0E4B1-AEEE-1241-D079-AFE0DA4DDDA4}"/>
          </ac:cxnSpMkLst>
        </pc:cxnChg>
        <pc:cxnChg chg="mod ord">
          <ac:chgData name="Jason Madden" userId="bc5fc663-4acf-4c70-beae-e4d4354e4ea1" providerId="ADAL" clId="{9242D02F-3850-469A-9E84-08401F66F885}" dt="2022-11-23T00:48:51.362" v="11549"/>
          <ac:cxnSpMkLst>
            <pc:docMk/>
            <pc:sldMk cId="2028211501" sldId="2147471456"/>
            <ac:cxnSpMk id="23" creationId="{6B0BAE03-E32D-5D42-BC02-C8BF7FE892E8}"/>
          </ac:cxnSpMkLst>
        </pc:cxnChg>
        <pc:cxnChg chg="mod ord">
          <ac:chgData name="Jason Madden" userId="bc5fc663-4acf-4c70-beae-e4d4354e4ea1" providerId="ADAL" clId="{9242D02F-3850-469A-9E84-08401F66F885}" dt="2022-11-23T00:48:51.321" v="11441"/>
          <ac:cxnSpMkLst>
            <pc:docMk/>
            <pc:sldMk cId="2028211501" sldId="2147471456"/>
            <ac:cxnSpMk id="24" creationId="{7EFECB82-49E2-854F-BAF7-3C75170FE247}"/>
          </ac:cxnSpMkLst>
        </pc:cxnChg>
        <pc:cxnChg chg="mod ord">
          <ac:chgData name="Jason Madden" userId="bc5fc663-4acf-4c70-beae-e4d4354e4ea1" providerId="ADAL" clId="{9242D02F-3850-469A-9E84-08401F66F885}" dt="2022-11-23T00:48:51.323" v="11445"/>
          <ac:cxnSpMkLst>
            <pc:docMk/>
            <pc:sldMk cId="2028211501" sldId="2147471456"/>
            <ac:cxnSpMk id="25" creationId="{91A0FA83-F8AB-F960-5F62-3C53347458BD}"/>
          </ac:cxnSpMkLst>
        </pc:cxnChg>
        <pc:cxnChg chg="mod ord">
          <ac:chgData name="Jason Madden" userId="bc5fc663-4acf-4c70-beae-e4d4354e4ea1" providerId="ADAL" clId="{9242D02F-3850-469A-9E84-08401F66F885}" dt="2022-11-23T00:48:51.359" v="11537"/>
          <ac:cxnSpMkLst>
            <pc:docMk/>
            <pc:sldMk cId="2028211501" sldId="2147471456"/>
            <ac:cxnSpMk id="45" creationId="{1D22193F-6F87-CF24-315E-C34F2C974679}"/>
          </ac:cxnSpMkLst>
        </pc:cxnChg>
        <pc:cxnChg chg="mod ord">
          <ac:chgData name="Jason Madden" userId="bc5fc663-4acf-4c70-beae-e4d4354e4ea1" providerId="ADAL" clId="{9242D02F-3850-469A-9E84-08401F66F885}" dt="2022-11-23T00:48:51.353" v="11521"/>
          <ac:cxnSpMkLst>
            <pc:docMk/>
            <pc:sldMk cId="2028211501" sldId="2147471456"/>
            <ac:cxnSpMk id="46" creationId="{3352189C-C726-E979-8A0F-E5DD693B08D8}"/>
          </ac:cxnSpMkLst>
        </pc:cxnChg>
        <pc:cxnChg chg="mod ord">
          <ac:chgData name="Jason Madden" userId="bc5fc663-4acf-4c70-beae-e4d4354e4ea1" providerId="ADAL" clId="{9242D02F-3850-469A-9E84-08401F66F885}" dt="2022-11-23T00:48:51.343" v="11493"/>
          <ac:cxnSpMkLst>
            <pc:docMk/>
            <pc:sldMk cId="2028211501" sldId="2147471456"/>
            <ac:cxnSpMk id="47" creationId="{1F0CD4B0-06FB-B8AB-2449-987ACFC9C6B6}"/>
          </ac:cxnSpMkLst>
        </pc:cxnChg>
        <pc:cxnChg chg="mod ord">
          <ac:chgData name="Jason Madden" userId="bc5fc663-4acf-4c70-beae-e4d4354e4ea1" providerId="ADAL" clId="{9242D02F-3850-469A-9E84-08401F66F885}" dt="2022-11-23T00:48:51.348" v="11509"/>
          <ac:cxnSpMkLst>
            <pc:docMk/>
            <pc:sldMk cId="2028211501" sldId="2147471456"/>
            <ac:cxnSpMk id="48" creationId="{14F64C73-0462-D4D6-C9C0-EDA1FA634EC4}"/>
          </ac:cxnSpMkLst>
        </pc:cxnChg>
        <pc:cxnChg chg="mod ord">
          <ac:chgData name="Jason Madden" userId="bc5fc663-4acf-4c70-beae-e4d4354e4ea1" providerId="ADAL" clId="{9242D02F-3850-469A-9E84-08401F66F885}" dt="2022-11-23T00:48:51.335" v="11473"/>
          <ac:cxnSpMkLst>
            <pc:docMk/>
            <pc:sldMk cId="2028211501" sldId="2147471456"/>
            <ac:cxnSpMk id="49" creationId="{9C563D43-C71C-06AE-A8EF-FEFC59C0B903}"/>
          </ac:cxnSpMkLst>
        </pc:cxnChg>
        <pc:cxnChg chg="mod ord">
          <ac:chgData name="Jason Madden" userId="bc5fc663-4acf-4c70-beae-e4d4354e4ea1" providerId="ADAL" clId="{9242D02F-3850-469A-9E84-08401F66F885}" dt="2022-11-23T00:48:51.354" v="11525"/>
          <ac:cxnSpMkLst>
            <pc:docMk/>
            <pc:sldMk cId="2028211501" sldId="2147471456"/>
            <ac:cxnSpMk id="50" creationId="{2E6A16E9-39A7-EC2F-5145-51D337DA1886}"/>
          </ac:cxnSpMkLst>
        </pc:cxnChg>
        <pc:cxnChg chg="mod ord">
          <ac:chgData name="Jason Madden" userId="bc5fc663-4acf-4c70-beae-e4d4354e4ea1" providerId="ADAL" clId="{9242D02F-3850-469A-9E84-08401F66F885}" dt="2022-11-23T00:48:51.338" v="11481"/>
          <ac:cxnSpMkLst>
            <pc:docMk/>
            <pc:sldMk cId="2028211501" sldId="2147471456"/>
            <ac:cxnSpMk id="51" creationId="{2A020E61-0FC1-9B6A-4E67-A9FAA66B9395}"/>
          </ac:cxnSpMkLst>
        </pc:cxnChg>
        <pc:cxnChg chg="mod ord">
          <ac:chgData name="Jason Madden" userId="bc5fc663-4acf-4c70-beae-e4d4354e4ea1" providerId="ADAL" clId="{9242D02F-3850-469A-9E84-08401F66F885}" dt="2022-11-23T00:48:51.344" v="11497"/>
          <ac:cxnSpMkLst>
            <pc:docMk/>
            <pc:sldMk cId="2028211501" sldId="2147471456"/>
            <ac:cxnSpMk id="52" creationId="{FCB8519F-B21C-6A2B-41A8-EDA49B394B7C}"/>
          </ac:cxnSpMkLst>
        </pc:cxnChg>
        <pc:cxnChg chg="mod ord">
          <ac:chgData name="Jason Madden" userId="bc5fc663-4acf-4c70-beae-e4d4354e4ea1" providerId="ADAL" clId="{9242D02F-3850-469A-9E84-08401F66F885}" dt="2022-11-23T00:48:51.330" v="11461"/>
          <ac:cxnSpMkLst>
            <pc:docMk/>
            <pc:sldMk cId="2028211501" sldId="2147471456"/>
            <ac:cxnSpMk id="53" creationId="{58AB0A00-8644-6286-F166-81A412648BAD}"/>
          </ac:cxnSpMkLst>
        </pc:cxnChg>
        <pc:cxnChg chg="mod ord">
          <ac:chgData name="Jason Madden" userId="bc5fc663-4acf-4c70-beae-e4d4354e4ea1" providerId="ADAL" clId="{9242D02F-3850-469A-9E84-08401F66F885}" dt="2022-11-23T00:48:51.331" v="11465"/>
          <ac:cxnSpMkLst>
            <pc:docMk/>
            <pc:sldMk cId="2028211501" sldId="2147471456"/>
            <ac:cxnSpMk id="54" creationId="{496B77B2-A315-B13E-3953-27ED42CB7F08}"/>
          </ac:cxnSpMkLst>
        </pc:cxnChg>
        <pc:cxnChg chg="mod ord">
          <ac:chgData name="Jason Madden" userId="bc5fc663-4acf-4c70-beae-e4d4354e4ea1" providerId="ADAL" clId="{9242D02F-3850-469A-9E84-08401F66F885}" dt="2022-11-23T00:48:51.333" v="11469"/>
          <ac:cxnSpMkLst>
            <pc:docMk/>
            <pc:sldMk cId="2028211501" sldId="2147471456"/>
            <ac:cxnSpMk id="55" creationId="{D8F5AC09-C96E-3358-EB3D-0A912C68DDB9}"/>
          </ac:cxnSpMkLst>
        </pc:cxnChg>
        <pc:cxnChg chg="mod ord">
          <ac:chgData name="Jason Madden" userId="bc5fc663-4acf-4c70-beae-e4d4354e4ea1" providerId="ADAL" clId="{9242D02F-3850-469A-9E84-08401F66F885}" dt="2022-11-23T00:48:51.328" v="11457"/>
          <ac:cxnSpMkLst>
            <pc:docMk/>
            <pc:sldMk cId="2028211501" sldId="2147471456"/>
            <ac:cxnSpMk id="56" creationId="{360F9DCB-DABE-46E9-5494-3E76B6632982}"/>
          </ac:cxnSpMkLst>
        </pc:cxnChg>
        <pc:cxnChg chg="mod ord">
          <ac:chgData name="Jason Madden" userId="bc5fc663-4acf-4c70-beae-e4d4354e4ea1" providerId="ADAL" clId="{9242D02F-3850-469A-9E84-08401F66F885}" dt="2022-11-23T00:48:51.336" v="11477"/>
          <ac:cxnSpMkLst>
            <pc:docMk/>
            <pc:sldMk cId="2028211501" sldId="2147471456"/>
            <ac:cxnSpMk id="57" creationId="{5A90D24C-F536-E3AF-6474-BF379293D1DC}"/>
          </ac:cxnSpMkLst>
        </pc:cxnChg>
        <pc:cxnChg chg="mod ord">
          <ac:chgData name="Jason Madden" userId="bc5fc663-4acf-4c70-beae-e4d4354e4ea1" providerId="ADAL" clId="{9242D02F-3850-469A-9E84-08401F66F885}" dt="2022-11-23T00:48:51.340" v="11485"/>
          <ac:cxnSpMkLst>
            <pc:docMk/>
            <pc:sldMk cId="2028211501" sldId="2147471456"/>
            <ac:cxnSpMk id="58" creationId="{1E9DA636-6B81-DE9D-27CB-E1268E28CFD6}"/>
          </ac:cxnSpMkLst>
        </pc:cxnChg>
        <pc:cxnChg chg="mod ord">
          <ac:chgData name="Jason Madden" userId="bc5fc663-4acf-4c70-beae-e4d4354e4ea1" providerId="ADAL" clId="{9242D02F-3850-469A-9E84-08401F66F885}" dt="2022-11-23T00:48:51.341" v="11489"/>
          <ac:cxnSpMkLst>
            <pc:docMk/>
            <pc:sldMk cId="2028211501" sldId="2147471456"/>
            <ac:cxnSpMk id="59" creationId="{702FAA0C-E8D7-9BB4-78AC-FA520C0EFA3C}"/>
          </ac:cxnSpMkLst>
        </pc:cxnChg>
        <pc:cxnChg chg="mod ord">
          <ac:chgData name="Jason Madden" userId="bc5fc663-4acf-4c70-beae-e4d4354e4ea1" providerId="ADAL" clId="{9242D02F-3850-469A-9E84-08401F66F885}" dt="2022-11-23T00:48:51.345" v="11501"/>
          <ac:cxnSpMkLst>
            <pc:docMk/>
            <pc:sldMk cId="2028211501" sldId="2147471456"/>
            <ac:cxnSpMk id="60" creationId="{8BEA7DBD-CB37-6C9E-173D-B28266BFE3F5}"/>
          </ac:cxnSpMkLst>
        </pc:cxnChg>
        <pc:cxnChg chg="mod ord">
          <ac:chgData name="Jason Madden" userId="bc5fc663-4acf-4c70-beae-e4d4354e4ea1" providerId="ADAL" clId="{9242D02F-3850-469A-9E84-08401F66F885}" dt="2022-11-23T00:48:51.347" v="11505"/>
          <ac:cxnSpMkLst>
            <pc:docMk/>
            <pc:sldMk cId="2028211501" sldId="2147471456"/>
            <ac:cxnSpMk id="61" creationId="{9137042F-0968-0877-36C5-83A3F4855EFF}"/>
          </ac:cxnSpMkLst>
        </pc:cxnChg>
        <pc:cxnChg chg="mod ord">
          <ac:chgData name="Jason Madden" userId="bc5fc663-4acf-4c70-beae-e4d4354e4ea1" providerId="ADAL" clId="{9242D02F-3850-469A-9E84-08401F66F885}" dt="2022-11-23T00:48:51.350" v="11513"/>
          <ac:cxnSpMkLst>
            <pc:docMk/>
            <pc:sldMk cId="2028211501" sldId="2147471456"/>
            <ac:cxnSpMk id="62" creationId="{C8823F5B-F3FC-EC9F-56DA-556F740F1E71}"/>
          </ac:cxnSpMkLst>
        </pc:cxnChg>
        <pc:cxnChg chg="mod ord">
          <ac:chgData name="Jason Madden" userId="bc5fc663-4acf-4c70-beae-e4d4354e4ea1" providerId="ADAL" clId="{9242D02F-3850-469A-9E84-08401F66F885}" dt="2022-11-23T00:48:51.351" v="11517"/>
          <ac:cxnSpMkLst>
            <pc:docMk/>
            <pc:sldMk cId="2028211501" sldId="2147471456"/>
            <ac:cxnSpMk id="63" creationId="{D68F16A9-10C7-002E-0AD3-A4EB5BD8C728}"/>
          </ac:cxnSpMkLst>
        </pc:cxnChg>
        <pc:cxnChg chg="mod ord">
          <ac:chgData name="Jason Madden" userId="bc5fc663-4acf-4c70-beae-e4d4354e4ea1" providerId="ADAL" clId="{9242D02F-3850-469A-9E84-08401F66F885}" dt="2022-11-23T00:48:51.356" v="11529"/>
          <ac:cxnSpMkLst>
            <pc:docMk/>
            <pc:sldMk cId="2028211501" sldId="2147471456"/>
            <ac:cxnSpMk id="64" creationId="{DA072899-F674-13EC-939C-B2932B715D39}"/>
          </ac:cxnSpMkLst>
        </pc:cxnChg>
        <pc:cxnChg chg="mod ord">
          <ac:chgData name="Jason Madden" userId="bc5fc663-4acf-4c70-beae-e4d4354e4ea1" providerId="ADAL" clId="{9242D02F-3850-469A-9E84-08401F66F885}" dt="2022-11-23T00:48:51.357" v="11533"/>
          <ac:cxnSpMkLst>
            <pc:docMk/>
            <pc:sldMk cId="2028211501" sldId="2147471456"/>
            <ac:cxnSpMk id="65" creationId="{C107A23D-5689-34AC-AC17-39A4774CF15B}"/>
          </ac:cxnSpMkLst>
        </pc:cxnChg>
        <pc:cxnChg chg="mod ord">
          <ac:chgData name="Jason Madden" userId="bc5fc663-4acf-4c70-beae-e4d4354e4ea1" providerId="ADAL" clId="{9242D02F-3850-469A-9E84-08401F66F885}" dt="2022-11-23T00:48:51.363" v="11553"/>
          <ac:cxnSpMkLst>
            <pc:docMk/>
            <pc:sldMk cId="2028211501" sldId="2147471456"/>
            <ac:cxnSpMk id="66" creationId="{DB7EB564-61A0-880D-FEB3-9B0E022EC842}"/>
          </ac:cxnSpMkLst>
        </pc:cxnChg>
        <pc:cxnChg chg="mod ord">
          <ac:chgData name="Jason Madden" userId="bc5fc663-4acf-4c70-beae-e4d4354e4ea1" providerId="ADAL" clId="{9242D02F-3850-469A-9E84-08401F66F885}" dt="2022-11-23T00:48:48.433" v="11251"/>
          <ac:cxnSpMkLst>
            <pc:docMk/>
            <pc:sldMk cId="2028211501" sldId="2147471456"/>
            <ac:cxnSpMk id="71" creationId="{348FDCC8-A96F-95EE-BB1F-599A41B991D7}"/>
          </ac:cxnSpMkLst>
        </pc:cxnChg>
      </pc:sldChg>
      <pc:sldChg chg="modSp mod">
        <pc:chgData name="Jason Madden" userId="bc5fc663-4acf-4c70-beae-e4d4354e4ea1" providerId="ADAL" clId="{9242D02F-3850-469A-9E84-08401F66F885}" dt="2022-11-23T02:53:21.320" v="12664" actId="20577"/>
        <pc:sldMkLst>
          <pc:docMk/>
          <pc:sldMk cId="3772877591" sldId="2147471457"/>
        </pc:sldMkLst>
        <pc:spChg chg="mod">
          <ac:chgData name="Jason Madden" userId="bc5fc663-4acf-4c70-beae-e4d4354e4ea1" providerId="ADAL" clId="{9242D02F-3850-469A-9E84-08401F66F885}" dt="2022-11-23T02:53:21.320" v="12664" actId="20577"/>
          <ac:spMkLst>
            <pc:docMk/>
            <pc:sldMk cId="3772877591" sldId="2147471457"/>
            <ac:spMk id="15" creationId="{A36EA823-8935-1827-003A-2715BC882FE1}"/>
          </ac:spMkLst>
        </pc:spChg>
        <pc:cxnChg chg="mod">
          <ac:chgData name="Jason Madden" userId="bc5fc663-4acf-4c70-beae-e4d4354e4ea1" providerId="ADAL" clId="{9242D02F-3850-469A-9E84-08401F66F885}" dt="2022-11-23T02:53:21.126" v="12662" actId="20577"/>
          <ac:cxnSpMkLst>
            <pc:docMk/>
            <pc:sldMk cId="3772877591" sldId="2147471457"/>
            <ac:cxnSpMk id="27" creationId="{79BB56CF-773A-EFEA-3854-397554629D85}"/>
          </ac:cxnSpMkLst>
        </pc:cxnChg>
      </pc:sldChg>
      <pc:sldChg chg="del">
        <pc:chgData name="Jason Madden" userId="bc5fc663-4acf-4c70-beae-e4d4354e4ea1" providerId="ADAL" clId="{9242D02F-3850-469A-9E84-08401F66F885}" dt="2022-11-22T22:48:41.003" v="1275" actId="47"/>
        <pc:sldMkLst>
          <pc:docMk/>
          <pc:sldMk cId="389217439" sldId="2147471463"/>
        </pc:sldMkLst>
      </pc:sldChg>
      <pc:sldChg chg="delSp del mod">
        <pc:chgData name="Jason Madden" userId="bc5fc663-4acf-4c70-beae-e4d4354e4ea1" providerId="ADAL" clId="{9242D02F-3850-469A-9E84-08401F66F885}" dt="2022-11-22T23:41:57.423" v="1909" actId="47"/>
        <pc:sldMkLst>
          <pc:docMk/>
          <pc:sldMk cId="4140985429" sldId="2147471465"/>
        </pc:sldMkLst>
        <pc:spChg chg="del">
          <ac:chgData name="Jason Madden" userId="bc5fc663-4acf-4c70-beae-e4d4354e4ea1" providerId="ADAL" clId="{9242D02F-3850-469A-9E84-08401F66F885}" dt="2022-11-22T23:27:45.438" v="1803" actId="478"/>
          <ac:spMkLst>
            <pc:docMk/>
            <pc:sldMk cId="4140985429" sldId="2147471465"/>
            <ac:spMk id="75" creationId="{9AED5303-0998-8F55-36E8-D5D5643212B4}"/>
          </ac:spMkLst>
        </pc:spChg>
        <pc:grpChg chg="del">
          <ac:chgData name="Jason Madden" userId="bc5fc663-4acf-4c70-beae-e4d4354e4ea1" providerId="ADAL" clId="{9242D02F-3850-469A-9E84-08401F66F885}" dt="2022-11-22T23:27:44.367" v="1802" actId="478"/>
          <ac:grpSpMkLst>
            <pc:docMk/>
            <pc:sldMk cId="4140985429" sldId="2147471465"/>
            <ac:grpSpMk id="37" creationId="{F121F06A-7511-77F1-56E4-74E84818C0A6}"/>
          </ac:grpSpMkLst>
        </pc:grpChg>
      </pc:sldChg>
      <pc:sldChg chg="addSp delSp modSp mod">
        <pc:chgData name="Jason Madden" userId="bc5fc663-4acf-4c70-beae-e4d4354e4ea1" providerId="ADAL" clId="{9242D02F-3850-469A-9E84-08401F66F885}" dt="2022-11-23T03:29:36.850" v="12719" actId="1076"/>
        <pc:sldMkLst>
          <pc:docMk/>
          <pc:sldMk cId="3504701981" sldId="2147471466"/>
        </pc:sldMkLst>
        <pc:spChg chg="del">
          <ac:chgData name="Jason Madden" userId="bc5fc663-4acf-4c70-beae-e4d4354e4ea1" providerId="ADAL" clId="{9242D02F-3850-469A-9E84-08401F66F885}" dt="2022-11-22T23:39:51.572" v="1806" actId="478"/>
          <ac:spMkLst>
            <pc:docMk/>
            <pc:sldMk cId="3504701981" sldId="2147471466"/>
            <ac:spMk id="3" creationId="{A08CE636-7AA3-6F44-813B-02E4B405B8AD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7" creationId="{B057DB0A-4B4B-19A7-676C-6039A5AF3804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8" creationId="{8DA922D3-DE8A-A07F-8A6D-B9336A42AF0F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9" creationId="{F51367D3-C7C0-FE0F-C2B8-F67413E39C8B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0" creationId="{81C924CE-4AD4-A8F3-8AB2-03AA67CBC946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1" creationId="{A66DA2D0-15E0-8CDB-7BFB-D51BE70CFC9A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13" creationId="{2DCC3E82-47DE-6985-5A83-857C2FF97D8F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16" creationId="{D70EEADD-5F50-C904-FF88-02562C8EEFCD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20" creationId="{D110AA67-B116-34FA-18DD-01550B99363E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30" creationId="{148FB631-0E0F-3E3B-A763-1B9C998624FC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1" creationId="{1C6EE6A0-0EFF-7D71-484C-0377ECE030BC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2" creationId="{B6822305-E517-25B9-AB3C-04BB1D324CAF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3" creationId="{04ABAD30-1B0D-BEBB-06B0-B74896D25B60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34" creationId="{DEE15B0C-A687-1EDA-C84A-822399F5D55D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35" creationId="{A71907DB-289C-067E-6AAB-5B2FCE29CA34}"/>
          </ac:spMkLst>
        </pc:spChg>
        <pc:spChg chg="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6" creationId="{05806F9B-D320-AEBC-E669-3F4DB1423D82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7" creationId="{1D5FAA29-9768-4A40-D870-41CE8C743BA0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8" creationId="{766D77E9-2524-F099-05DB-CD86B9AD987F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39" creationId="{122ADAA4-C7FB-2889-7ABA-A2C9E2773FFC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40" creationId="{4740DD78-CB51-78F6-4907-9782B2446DD2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41" creationId="{8A75E084-D184-C6C5-6888-56C7DA1F925F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42" creationId="{4FA231C7-019C-222B-3770-35EC29A560B0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43" creationId="{45CDD593-1712-32DA-00B7-27ABE6E12558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44" creationId="{DC0C5F2E-898B-7311-B55F-6DA7086B3E2E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45" creationId="{40A96B76-07BE-E301-6EF4-7ADE5C701CE8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46" creationId="{6D75E666-C4BF-9823-6574-A9E376DF4183}"/>
          </ac:spMkLst>
        </pc:spChg>
        <pc:spChg chg="add mod">
          <ac:chgData name="Jason Madden" userId="bc5fc663-4acf-4c70-beae-e4d4354e4ea1" providerId="ADAL" clId="{9242D02F-3850-469A-9E84-08401F66F885}" dt="2022-11-23T03:28:46.530" v="12715" actId="1035"/>
          <ac:spMkLst>
            <pc:docMk/>
            <pc:sldMk cId="3504701981" sldId="2147471466"/>
            <ac:spMk id="47" creationId="{8913AF8C-09B4-D020-567F-32F7336465F5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48" creationId="{F40A83FC-26F3-D337-F879-E981BFA46E29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49" creationId="{8931FB45-C5DD-E1F4-6247-BEB9F4F7F2ED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0" creationId="{441086CA-EB59-FB76-7C36-4E406DC2A7EB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1" creationId="{E09E223F-127C-9F59-C82A-1026BB28F92D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2" creationId="{297A8789-F321-D84F-0C01-6B4213182E39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3" creationId="{AD84A19E-1221-08BB-47A8-480AE0C7D1D7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4" creationId="{C4AC95B0-8A80-9621-6F7E-DD394B4AB162}"/>
          </ac:spMkLst>
        </pc:spChg>
        <pc:spChg chg="add mod">
          <ac:chgData name="Jason Madden" userId="bc5fc663-4acf-4c70-beae-e4d4354e4ea1" providerId="ADAL" clId="{9242D02F-3850-469A-9E84-08401F66F885}" dt="2022-11-23T03:29:36.850" v="12719" actId="1076"/>
          <ac:spMkLst>
            <pc:docMk/>
            <pc:sldMk cId="3504701981" sldId="2147471466"/>
            <ac:spMk id="55" creationId="{54EBA088-1DFB-F753-7187-0C445E0C831E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6" creationId="{D632DDFA-A157-5CFC-52F7-6D3C0ACD276D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7" creationId="{7305B6EC-5788-EC3A-605B-C72101C90984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58" creationId="{C6A38A5D-4081-AC58-4DFE-F8C9C6ACAD33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60" creationId="{9179D8A3-1EA2-AF15-9BA3-B5F573CB6D01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61" creationId="{189EB038-02BD-B571-743F-E2C14CA2DD05}"/>
          </ac:spMkLst>
        </pc:spChg>
        <pc:spChg chg="add mod">
          <ac:chgData name="Jason Madden" userId="bc5fc663-4acf-4c70-beae-e4d4354e4ea1" providerId="ADAL" clId="{9242D02F-3850-469A-9E84-08401F66F885}" dt="2022-11-22T23:40:04.771" v="1807"/>
          <ac:spMkLst>
            <pc:docMk/>
            <pc:sldMk cId="3504701981" sldId="2147471466"/>
            <ac:spMk id="62" creationId="{1F079668-CC1C-465E-BAD6-1D5C2C7166B5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96" creationId="{3645037A-898B-45DA-AF94-A24BE4A4FAAD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13" creationId="{51031382-CAA8-F797-40E4-3A735DD97676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15" creationId="{ED8BE14F-1407-1C04-8105-8CD97846C2EF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16" creationId="{4AA6D527-21C7-3104-B74D-3D6C6864A515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17" creationId="{15D4BC02-84F2-E357-D5A1-7B9C640794DE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62" creationId="{9DD8F3AB-B2DC-19BC-C765-9D2A27FC261F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73" creationId="{711C0E90-915C-B4C7-F7A4-B75E74654F74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88" creationId="{09CA605D-56A3-0DA1-D2C8-26B1A6E0DA31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89" creationId="{6E33041D-117F-FF9D-59C0-70AACBAAE7DE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90" creationId="{53298CE9-712F-9187-51AC-4253DC99E960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91" creationId="{C130F849-3CDF-17B5-0DA0-FC661B6E6B6A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96" creationId="{8C5B51E1-FF13-E51A-94AA-B5DC5134DDD7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199" creationId="{15F4E71D-32CB-6253-BD57-E135571BB310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05" creationId="{164EAEDB-F903-8AB3-F744-E6601241A8C8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06" creationId="{90AFC474-D99A-61D5-1776-E0A9804FB03C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07" creationId="{781CF360-ABA9-FE0E-835C-09B85526DB7D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08" creationId="{61D06880-7259-B10E-4410-44EFAA17E1AB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13" creationId="{5D8404C3-D2A7-BCD7-3007-83C54A68E06E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14" creationId="{4B98C8F7-8659-8EA4-C2F9-0E2F34B23330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16" creationId="{190377BB-2449-F236-E19A-D69BDA210B41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17" creationId="{F63F873A-CC08-32A9-319B-A582CA328379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27" creationId="{183E2FE5-638A-EAC2-D1D8-AC08B8A9B4EA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28" creationId="{AE8C0BB0-D06C-6E44-EAAB-E28BCF76AFA7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32" creationId="{43B9D42B-6A23-BFDB-F57F-B01503B68F99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33" creationId="{122493D2-498F-D42F-5AB7-1BBAA305339F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34" creationId="{849B6185-1F96-95F5-4CC0-3B6A1EFFB379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35" creationId="{00A5263B-C6B2-8B77-C8E7-00000E5D60C5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37" creationId="{2D501803-86B8-A608-B63D-EEC390381F49}"/>
          </ac:spMkLst>
        </pc:spChg>
        <pc:spChg chg="del">
          <ac:chgData name="Jason Madden" userId="bc5fc663-4acf-4c70-beae-e4d4354e4ea1" providerId="ADAL" clId="{9242D02F-3850-469A-9E84-08401F66F885}" dt="2022-11-22T23:39:45.226" v="1804" actId="478"/>
          <ac:spMkLst>
            <pc:docMk/>
            <pc:sldMk cId="3504701981" sldId="2147471466"/>
            <ac:spMk id="238" creationId="{F5270863-6A3C-F71D-6F4B-CE9381B9F693}"/>
          </ac:spMkLst>
        </pc:spChg>
        <pc:grpChg chg="add mod">
          <ac:chgData name="Jason Madden" userId="bc5fc663-4acf-4c70-beae-e4d4354e4ea1" providerId="ADAL" clId="{9242D02F-3850-469A-9E84-08401F66F885}" dt="2022-11-22T23:40:04.771" v="1807"/>
          <ac:grpSpMkLst>
            <pc:docMk/>
            <pc:sldMk cId="3504701981" sldId="2147471466"/>
            <ac:grpSpMk id="6" creationId="{FED62B1E-DBC2-8498-9377-65F12C9BC2E6}"/>
          </ac:grpSpMkLst>
        </pc:grpChg>
        <pc:grpChg chg="add mod">
          <ac:chgData name="Jason Madden" userId="bc5fc663-4acf-4c70-beae-e4d4354e4ea1" providerId="ADAL" clId="{9242D02F-3850-469A-9E84-08401F66F885}" dt="2022-11-22T23:40:04.771" v="1807"/>
          <ac:grpSpMkLst>
            <pc:docMk/>
            <pc:sldMk cId="3504701981" sldId="2147471466"/>
            <ac:grpSpMk id="14" creationId="{CE021341-520F-1909-4D4B-6549362F42CB}"/>
          </ac:grpSpMkLst>
        </pc:grpChg>
        <pc:grpChg chg="add mod">
          <ac:chgData name="Jason Madden" userId="bc5fc663-4acf-4c70-beae-e4d4354e4ea1" providerId="ADAL" clId="{9242D02F-3850-469A-9E84-08401F66F885}" dt="2022-11-22T23:40:04.771" v="1807"/>
          <ac:grpSpMkLst>
            <pc:docMk/>
            <pc:sldMk cId="3504701981" sldId="2147471466"/>
            <ac:grpSpMk id="17" creationId="{3F816888-6B48-1296-AA93-8ABE11D972F8}"/>
          </ac:grpSpMkLst>
        </pc:grpChg>
        <pc:grpChg chg="add mod">
          <ac:chgData name="Jason Madden" userId="bc5fc663-4acf-4c70-beae-e4d4354e4ea1" providerId="ADAL" clId="{9242D02F-3850-469A-9E84-08401F66F885}" dt="2022-11-22T23:40:04.771" v="1807"/>
          <ac:grpSpMkLst>
            <pc:docMk/>
            <pc:sldMk cId="3504701981" sldId="2147471466"/>
            <ac:grpSpMk id="21" creationId="{912D7810-99F3-543C-9524-945D6C1C261F}"/>
          </ac:grpSpMkLst>
        </pc:grpChg>
        <pc:grpChg chg="mod">
          <ac:chgData name="Jason Madden" userId="bc5fc663-4acf-4c70-beae-e4d4354e4ea1" providerId="ADAL" clId="{9242D02F-3850-469A-9E84-08401F66F885}" dt="2022-11-22T23:40:04.771" v="1807"/>
          <ac:grpSpMkLst>
            <pc:docMk/>
            <pc:sldMk cId="3504701981" sldId="2147471466"/>
            <ac:grpSpMk id="22" creationId="{D32B88CB-392E-66F8-7B85-8CD3D76948AF}"/>
          </ac:grpSpMkLst>
        </pc:grpChg>
        <pc:grpChg chg="del">
          <ac:chgData name="Jason Madden" userId="bc5fc663-4acf-4c70-beae-e4d4354e4ea1" providerId="ADAL" clId="{9242D02F-3850-469A-9E84-08401F66F885}" dt="2022-11-22T23:39:45.226" v="1804" actId="478"/>
          <ac:grpSpMkLst>
            <pc:docMk/>
            <pc:sldMk cId="3504701981" sldId="2147471466"/>
            <ac:grpSpMk id="23" creationId="{8A6ACBA3-707F-831A-B116-233AF357F369}"/>
          </ac:grpSpMkLst>
        </pc:grpChg>
        <pc:grpChg chg="del">
          <ac:chgData name="Jason Madden" userId="bc5fc663-4acf-4c70-beae-e4d4354e4ea1" providerId="ADAL" clId="{9242D02F-3850-469A-9E84-08401F66F885}" dt="2022-11-22T23:39:48.580" v="1805" actId="478"/>
          <ac:grpSpMkLst>
            <pc:docMk/>
            <pc:sldMk cId="3504701981" sldId="2147471466"/>
            <ac:grpSpMk id="204" creationId="{49F69A40-9A2C-5B2E-BB25-77BF39985CFA}"/>
          </ac:grpSpMkLst>
        </pc:grpChg>
        <pc:grpChg chg="del">
          <ac:chgData name="Jason Madden" userId="bc5fc663-4acf-4c70-beae-e4d4354e4ea1" providerId="ADAL" clId="{9242D02F-3850-469A-9E84-08401F66F885}" dt="2022-11-22T23:39:45.226" v="1804" actId="478"/>
          <ac:grpSpMkLst>
            <pc:docMk/>
            <pc:sldMk cId="3504701981" sldId="2147471466"/>
            <ac:grpSpMk id="224" creationId="{C87A8260-2D71-308E-BE80-179D2528EBE9}"/>
          </ac:grpSpMkLst>
        </pc:grpChg>
        <pc:graphicFrameChg chg="add mod">
          <ac:chgData name="Jason Madden" userId="bc5fc663-4acf-4c70-beae-e4d4354e4ea1" providerId="ADAL" clId="{9242D02F-3850-469A-9E84-08401F66F885}" dt="2022-11-22T23:40:04.771" v="1807"/>
          <ac:graphicFrameMkLst>
            <pc:docMk/>
            <pc:sldMk cId="3504701981" sldId="2147471466"/>
            <ac:graphicFrameMk id="4" creationId="{F1FD1823-123D-8927-DBE3-2AE8DD5FA4C7}"/>
          </ac:graphicFrameMkLst>
        </pc:graphicFrameChg>
        <pc:graphicFrameChg chg="del">
          <ac:chgData name="Jason Madden" userId="bc5fc663-4acf-4c70-beae-e4d4354e4ea1" providerId="ADAL" clId="{9242D02F-3850-469A-9E84-08401F66F885}" dt="2022-11-22T23:39:45.226" v="1804" actId="478"/>
          <ac:graphicFrameMkLst>
            <pc:docMk/>
            <pc:sldMk cId="3504701981" sldId="2147471466"/>
            <ac:graphicFrameMk id="5" creationId="{A2B2960B-707F-EC02-3E6F-1F119473D543}"/>
          </ac:graphicFrameMkLst>
        </pc:graphicFrameChg>
        <pc:cxnChg chg="mod">
          <ac:chgData name="Jason Madden" userId="bc5fc663-4acf-4c70-beae-e4d4354e4ea1" providerId="ADAL" clId="{9242D02F-3850-469A-9E84-08401F66F885}" dt="2022-11-22T23:40:04.771" v="1807"/>
          <ac:cxnSpMkLst>
            <pc:docMk/>
            <pc:sldMk cId="3504701981" sldId="2147471466"/>
            <ac:cxnSpMk id="12" creationId="{429C440E-BFE6-9965-F1A2-F0F8BA2C8EC7}"/>
          </ac:cxnSpMkLst>
        </pc:cxnChg>
        <pc:cxnChg chg="mod">
          <ac:chgData name="Jason Madden" userId="bc5fc663-4acf-4c70-beae-e4d4354e4ea1" providerId="ADAL" clId="{9242D02F-3850-469A-9E84-08401F66F885}" dt="2022-11-22T23:40:04.771" v="1807"/>
          <ac:cxnSpMkLst>
            <pc:docMk/>
            <pc:sldMk cId="3504701981" sldId="2147471466"/>
            <ac:cxnSpMk id="15" creationId="{B3BAC3C1-B66D-A250-6F5C-E09D41F8E9F4}"/>
          </ac:cxnSpMkLst>
        </pc:cxnChg>
        <pc:cxnChg chg="mod">
          <ac:chgData name="Jason Madden" userId="bc5fc663-4acf-4c70-beae-e4d4354e4ea1" providerId="ADAL" clId="{9242D02F-3850-469A-9E84-08401F66F885}" dt="2022-11-22T23:40:04.771" v="1807"/>
          <ac:cxnSpMkLst>
            <pc:docMk/>
            <pc:sldMk cId="3504701981" sldId="2147471466"/>
            <ac:cxnSpMk id="19" creationId="{0C4E7264-716B-7767-A13A-C243C7CDB0EE}"/>
          </ac:cxnSpMkLst>
        </pc:cxnChg>
        <pc:cxnChg chg="add mod">
          <ac:chgData name="Jason Madden" userId="bc5fc663-4acf-4c70-beae-e4d4354e4ea1" providerId="ADAL" clId="{9242D02F-3850-469A-9E84-08401F66F885}" dt="2022-11-22T23:40:04.771" v="1807"/>
          <ac:cxnSpMkLst>
            <pc:docMk/>
            <pc:sldMk cId="3504701981" sldId="2147471466"/>
            <ac:cxnSpMk id="59" creationId="{B863AFC1-317F-0229-0BBA-7B496B267CFA}"/>
          </ac:cxnSpMkLst>
        </pc:cxnChg>
      </pc:sldChg>
      <pc:sldChg chg="addSp delSp modSp mod">
        <pc:chgData name="Jason Madden" userId="bc5fc663-4acf-4c70-beae-e4d4354e4ea1" providerId="ADAL" clId="{9242D02F-3850-469A-9E84-08401F66F885}" dt="2022-11-23T03:29:41.535" v="12720" actId="1076"/>
        <pc:sldMkLst>
          <pc:docMk/>
          <pc:sldMk cId="2108451421" sldId="2147471467"/>
        </pc:sldMkLst>
        <pc:spChg chg="mod">
          <ac:chgData name="Jason Madden" userId="bc5fc663-4acf-4c70-beae-e4d4354e4ea1" providerId="ADAL" clId="{9242D02F-3850-469A-9E84-08401F66F885}" dt="2022-11-22T23:41:15.009" v="1837" actId="948"/>
          <ac:spMkLst>
            <pc:docMk/>
            <pc:sldMk cId="2108451421" sldId="2147471467"/>
            <ac:spMk id="2" creationId="{FC15DB9B-4DB9-0AC4-C398-732EC701F48A}"/>
          </ac:spMkLst>
        </pc:spChg>
        <pc:spChg chg="del mod">
          <ac:chgData name="Jason Madden" userId="bc5fc663-4acf-4c70-beae-e4d4354e4ea1" providerId="ADAL" clId="{9242D02F-3850-469A-9E84-08401F66F885}" dt="2022-11-23T03:29:17.166" v="12718" actId="478"/>
          <ac:spMkLst>
            <pc:docMk/>
            <pc:sldMk cId="2108451421" sldId="2147471467"/>
            <ac:spMk id="3" creationId="{250EE2F9-13D1-9497-F98A-C1B91205E4DA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4" creationId="{14F8281F-115D-5FF9-0B9C-D47D763960FA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6" creationId="{7C8B39E9-9FC8-9293-47B9-6517F15FA645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7" creationId="{9DC70B9F-22C0-BA03-4516-8EC9158341AD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1" creationId="{A2284D9E-451B-FB75-7F64-3108DCB041DB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2" creationId="{711B8B98-A549-ACC0-0371-9E06CD79E7F5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3" creationId="{C29DFDBE-6CAC-79E1-2949-EF89C10D3293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4" creationId="{BC527218-595C-BA40-03D5-A49E94A02892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5" creationId="{3EABF9F3-055C-2B84-1E36-F8EE6A358136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6" creationId="{3C5D93BB-F1AD-9BFB-B088-4005775E0BC6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8" creationId="{3E64EFEC-BE1C-D460-6D3D-CCA78A165DFD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9" creationId="{940B6F3C-CC34-49D2-272B-D9D36C62AEC7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0" creationId="{ADD4DB64-E0A5-B60E-B602-DD991787ACFA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1" creationId="{14D5EFC0-850D-6E87-31F0-E7BEEBE9C6F6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22" creationId="{DB3185C4-F0DA-F8EA-ED13-663991B6E4E4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" creationId="{7E1410C9-B2A3-3E45-0122-20C20F2C6DEF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4" creationId="{5D5534E4-4783-FF60-0317-01684BC629BB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27" creationId="{5F98EE83-1C12-0A2E-2BAF-D22C02BBAA62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30" creationId="{6B0EE5BE-0804-B4EF-FDCA-B53B9036E91A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33" creationId="{D7C8598B-8E7F-7C49-3651-92EBF7AE37D5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34" creationId="{DE3783A4-C68B-D01F-2731-33CB04418CF5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35" creationId="{DA6B38D6-4E5A-8BB1-C5BC-59BFD4850819}"/>
          </ac:spMkLst>
        </pc:spChg>
        <pc:spChg chg="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36" creationId="{08DA3715-31D5-4230-89DE-EA59B0E5CC85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37" creationId="{24D32FAD-DB87-E3E5-4ABA-1CCB6DD190BE}"/>
          </ac:spMkLst>
        </pc:spChg>
        <pc:spChg chg="add mod">
          <ac:chgData name="Jason Madden" userId="bc5fc663-4acf-4c70-beae-e4d4354e4ea1" providerId="ADAL" clId="{9242D02F-3850-469A-9E84-08401F66F885}" dt="2022-11-23T03:27:29.099" v="12697"/>
          <ac:spMkLst>
            <pc:docMk/>
            <pc:sldMk cId="2108451421" sldId="2147471467"/>
            <ac:spMk id="38" creationId="{D9F60C2E-00FA-CAB0-459A-FAFA78CD5E3D}"/>
          </ac:spMkLst>
        </pc:spChg>
        <pc:spChg chg="add del mod">
          <ac:chgData name="Jason Madden" userId="bc5fc663-4acf-4c70-beae-e4d4354e4ea1" providerId="ADAL" clId="{9242D02F-3850-469A-9E84-08401F66F885}" dt="2022-11-23T03:28:05.206" v="12708" actId="478"/>
          <ac:spMkLst>
            <pc:docMk/>
            <pc:sldMk cId="2108451421" sldId="2147471467"/>
            <ac:spMk id="39" creationId="{BD77476B-4F32-3EAB-4895-F2F0EDD6EAB7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40" creationId="{4740DD78-CB51-78F6-4907-9782B2446DD2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41" creationId="{8A75E084-D184-C6C5-6888-56C7DA1F925F}"/>
          </ac:spMkLst>
        </pc:spChg>
        <pc:spChg chg="add del mod">
          <ac:chgData name="Jason Madden" userId="bc5fc663-4acf-4c70-beae-e4d4354e4ea1" providerId="ADAL" clId="{9242D02F-3850-469A-9E84-08401F66F885}" dt="2022-11-23T03:27:31.014" v="12698" actId="478"/>
          <ac:spMkLst>
            <pc:docMk/>
            <pc:sldMk cId="2108451421" sldId="2147471467"/>
            <ac:spMk id="42" creationId="{30BA7186-3D77-2FA2-13FE-49A0CA9A44EF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43" creationId="{E6B83460-580C-B73A-DCCD-5C473B8E935B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44" creationId="{965C1F88-D586-448F-7FF4-A343AA44FD4C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45" creationId="{D07FA203-264E-F3EF-6AD1-9991D71680EA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46" creationId="{6D75E666-C4BF-9823-6574-A9E376DF4183}"/>
          </ac:spMkLst>
        </pc:spChg>
        <pc:spChg chg="add del mod">
          <ac:chgData name="Jason Madden" userId="bc5fc663-4acf-4c70-beae-e4d4354e4ea1" providerId="ADAL" clId="{9242D02F-3850-469A-9E84-08401F66F885}" dt="2022-11-23T03:28:49.998" v="12716" actId="478"/>
          <ac:spMkLst>
            <pc:docMk/>
            <pc:sldMk cId="2108451421" sldId="2147471467"/>
            <ac:spMk id="47" creationId="{60E71319-D20B-A938-2A64-4CBEFAD4070B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48" creationId="{174E7C41-3475-66D5-8975-83391246F54F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49" creationId="{47932C3C-22EA-9A33-87D4-075B58EDE7E8}"/>
          </ac:spMkLst>
        </pc:spChg>
        <pc:spChg chg="add mod">
          <ac:chgData name="Jason Madden" userId="bc5fc663-4acf-4c70-beae-e4d4354e4ea1" providerId="ADAL" clId="{9242D02F-3850-469A-9E84-08401F66F885}" dt="2022-11-23T03:28:18.799" v="12712" actId="1076"/>
          <ac:spMkLst>
            <pc:docMk/>
            <pc:sldMk cId="2108451421" sldId="2147471467"/>
            <ac:spMk id="50" creationId="{86B60110-CF98-FC3D-E11B-67F2C0DCE5E2}"/>
          </ac:spMkLst>
        </pc:spChg>
        <pc:spChg chg="add mod">
          <ac:chgData name="Jason Madden" userId="bc5fc663-4acf-4c70-beae-e4d4354e4ea1" providerId="ADAL" clId="{9242D02F-3850-469A-9E84-08401F66F885}" dt="2022-11-23T03:28:21.053" v="12713" actId="1076"/>
          <ac:spMkLst>
            <pc:docMk/>
            <pc:sldMk cId="2108451421" sldId="2147471467"/>
            <ac:spMk id="51" creationId="{1B9FE444-5DFB-A291-1A27-09D3E8E1BFB7}"/>
          </ac:spMkLst>
        </pc:spChg>
        <pc:spChg chg="add del mod">
          <ac:chgData name="Jason Madden" userId="bc5fc663-4acf-4c70-beae-e4d4354e4ea1" providerId="ADAL" clId="{9242D02F-3850-469A-9E84-08401F66F885}" dt="2022-11-23T03:27:31.014" v="12698" actId="478"/>
          <ac:spMkLst>
            <pc:docMk/>
            <pc:sldMk cId="2108451421" sldId="2147471467"/>
            <ac:spMk id="52" creationId="{A4FEF6AE-365B-E6BF-1344-ABA6B03954B1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53" creationId="{66EC88E9-32AA-FE35-A789-B792AA8BCB3F}"/>
          </ac:spMkLst>
        </pc:spChg>
        <pc:spChg chg="add mod">
          <ac:chgData name="Jason Madden" userId="bc5fc663-4acf-4c70-beae-e4d4354e4ea1" providerId="ADAL" clId="{9242D02F-3850-469A-9E84-08401F66F885}" dt="2022-11-23T03:27:12.790" v="12694" actId="20577"/>
          <ac:spMkLst>
            <pc:docMk/>
            <pc:sldMk cId="2108451421" sldId="2147471467"/>
            <ac:spMk id="54" creationId="{6EA0DFBE-ABE2-298A-011D-77A9CEA3588C}"/>
          </ac:spMkLst>
        </pc:spChg>
        <pc:spChg chg="add mod">
          <ac:chgData name="Jason Madden" userId="bc5fc663-4acf-4c70-beae-e4d4354e4ea1" providerId="ADAL" clId="{9242D02F-3850-469A-9E84-08401F66F885}" dt="2022-11-23T03:29:41.535" v="12720" actId="1076"/>
          <ac:spMkLst>
            <pc:docMk/>
            <pc:sldMk cId="2108451421" sldId="2147471467"/>
            <ac:spMk id="55" creationId="{E5309A12-7202-FF62-641D-FEC609CE2A32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56" creationId="{900A023A-5BDF-DDA3-EA77-D9322FE9C48A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57" creationId="{B13BBA80-D7FF-0B41-0007-5B09532C1C1D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58" creationId="{C1FFACCC-D669-8D31-FEE5-156E7D1C6A39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60" creationId="{7E289FCF-7C9B-4D87-4E1E-513CA84AD858}"/>
          </ac:spMkLst>
        </pc:spChg>
        <pc:spChg chg="add mod">
          <ac:chgData name="Jason Madden" userId="bc5fc663-4acf-4c70-beae-e4d4354e4ea1" providerId="ADAL" clId="{9242D02F-3850-469A-9E84-08401F66F885}" dt="2022-11-22T23:40:54.935" v="1812"/>
          <ac:spMkLst>
            <pc:docMk/>
            <pc:sldMk cId="2108451421" sldId="2147471467"/>
            <ac:spMk id="61" creationId="{054292BB-9A6F-8097-9A02-0AE9F430FC70}"/>
          </ac:spMkLst>
        </pc:spChg>
        <pc:spChg chg="add del mod">
          <ac:chgData name="Jason Madden" userId="bc5fc663-4acf-4c70-beae-e4d4354e4ea1" providerId="ADAL" clId="{9242D02F-3850-469A-9E84-08401F66F885}" dt="2022-11-23T03:28:15.827" v="12711" actId="478"/>
          <ac:spMkLst>
            <pc:docMk/>
            <pc:sldMk cId="2108451421" sldId="2147471467"/>
            <ac:spMk id="62" creationId="{F00BEA74-B4BC-80EE-02A7-696D2F1F9664}"/>
          </ac:spMkLst>
        </pc:spChg>
        <pc:spChg chg="add del mod modVis">
          <ac:chgData name="Jason Madden" userId="bc5fc663-4acf-4c70-beae-e4d4354e4ea1" providerId="ADAL" clId="{9242D02F-3850-469A-9E84-08401F66F885}" dt="2022-11-22T23:41:15.105" v="1899"/>
          <ac:spMkLst>
            <pc:docMk/>
            <pc:sldMk cId="2108451421" sldId="2147471467"/>
            <ac:spMk id="63" creationId="{A6C560A3-10D3-80DA-B1A7-20255B9F42F8}"/>
          </ac:spMkLst>
        </pc:spChg>
        <pc:spChg chg="add del mod">
          <ac:chgData name="Jason Madden" userId="bc5fc663-4acf-4c70-beae-e4d4354e4ea1" providerId="ADAL" clId="{9242D02F-3850-469A-9E84-08401F66F885}" dt="2022-11-23T03:27:14.606" v="12695" actId="478"/>
          <ac:spMkLst>
            <pc:docMk/>
            <pc:sldMk cId="2108451421" sldId="2147471467"/>
            <ac:spMk id="64" creationId="{63143E3E-2E80-4EAC-7250-84848D7A2C69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91" creationId="{11C903BD-5555-4690-8A1D-5D9D56FF3A35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13" creationId="{51031382-CAA8-F797-40E4-3A735DD97676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15" creationId="{ED8BE14F-1407-1C04-8105-8CD97846C2EF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16" creationId="{4AA6D527-21C7-3104-B74D-3D6C6864A515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24" creationId="{8AC0FE53-6A7C-22E0-F89F-33F58D8980B4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25" creationId="{05EDBD3E-0AA4-4A2A-E711-F407E96605F9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26" creationId="{64E2A6C6-35BA-6B5E-1FA2-30830D4415FE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27" creationId="{8D3A348F-756C-BC8D-25F9-100A2AFCD039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29" creationId="{AD2F94A9-834D-021F-98AB-6628A32096F1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30" creationId="{676E352F-67AD-B881-C61B-93D8DD2C5CD7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31" creationId="{AAC1A84D-A6C5-4274-203B-0DFED740CA17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32" creationId="{25356A94-AB56-DBBE-071D-08E0B4E0E06D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62" creationId="{9DD8F3AB-B2DC-19BC-C765-9D2A27FC261F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88" creationId="{09CA605D-56A3-0DA1-D2C8-26B1A6E0DA31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89" creationId="{6E33041D-117F-FF9D-59C0-70AACBAAE7DE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199" creationId="{15F4E71D-32CB-6253-BD57-E135571BB310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05" creationId="{164EAEDB-F903-8AB3-F744-E6601241A8C8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06" creationId="{90AFC474-D99A-61D5-1776-E0A9804FB03C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07" creationId="{781CF360-ABA9-FE0E-835C-09B85526DB7D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08" creationId="{61D06880-7259-B10E-4410-44EFAA17E1AB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18" creationId="{CE8FA54B-B2AF-4478-EC5B-7A58DC51E015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27" creationId="{183E2FE5-638A-EAC2-D1D8-AC08B8A9B4EA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28" creationId="{AE8C0BB0-D06C-6E44-EAAB-E28BCF76AFA7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29" creationId="{47C56D20-2212-E71A-566E-29E46E3805EB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2" creationId="{43B9D42B-6A23-BFDB-F57F-B01503B68F99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3" creationId="{122493D2-498F-D42F-5AB7-1BBAA305339F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4" creationId="{849B6185-1F96-95F5-4CC0-3B6A1EFFB379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5" creationId="{00A5263B-C6B2-8B77-C8E7-00000E5D60C5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7" creationId="{2D501803-86B8-A608-B63D-EEC390381F49}"/>
          </ac:spMkLst>
        </pc:spChg>
        <pc:spChg chg="del">
          <ac:chgData name="Jason Madden" userId="bc5fc663-4acf-4c70-beae-e4d4354e4ea1" providerId="ADAL" clId="{9242D02F-3850-469A-9E84-08401F66F885}" dt="2022-11-22T23:40:46.249" v="1810" actId="478"/>
          <ac:spMkLst>
            <pc:docMk/>
            <pc:sldMk cId="2108451421" sldId="2147471467"/>
            <ac:spMk id="238" creationId="{F5270863-6A3C-F71D-6F4B-CE9381B9F693}"/>
          </ac:spMkLst>
        </pc:spChg>
        <pc:grpChg chg="add mod">
          <ac:chgData name="Jason Madden" userId="bc5fc663-4acf-4c70-beae-e4d4354e4ea1" providerId="ADAL" clId="{9242D02F-3850-469A-9E84-08401F66F885}" dt="2022-11-22T23:40:54.935" v="1812"/>
          <ac:grpSpMkLst>
            <pc:docMk/>
            <pc:sldMk cId="2108451421" sldId="2147471467"/>
            <ac:grpSpMk id="9" creationId="{ECF8712B-A913-F429-2DA9-86A2AD125C3D}"/>
          </ac:grpSpMkLst>
        </pc:grpChg>
        <pc:grpChg chg="add mod">
          <ac:chgData name="Jason Madden" userId="bc5fc663-4acf-4c70-beae-e4d4354e4ea1" providerId="ADAL" clId="{9242D02F-3850-469A-9E84-08401F66F885}" dt="2022-11-22T23:40:54.935" v="1812"/>
          <ac:grpSpMkLst>
            <pc:docMk/>
            <pc:sldMk cId="2108451421" sldId="2147471467"/>
            <ac:grpSpMk id="25" creationId="{7BB234E9-6860-E70D-D991-975E095438E6}"/>
          </ac:grpSpMkLst>
        </pc:grpChg>
        <pc:grpChg chg="add mod">
          <ac:chgData name="Jason Madden" userId="bc5fc663-4acf-4c70-beae-e4d4354e4ea1" providerId="ADAL" clId="{9242D02F-3850-469A-9E84-08401F66F885}" dt="2022-11-22T23:40:54.935" v="1812"/>
          <ac:grpSpMkLst>
            <pc:docMk/>
            <pc:sldMk cId="2108451421" sldId="2147471467"/>
            <ac:grpSpMk id="28" creationId="{F621F4FF-D933-B72B-2879-C59645E5019A}"/>
          </ac:grpSpMkLst>
        </pc:grpChg>
        <pc:grpChg chg="add mod">
          <ac:chgData name="Jason Madden" userId="bc5fc663-4acf-4c70-beae-e4d4354e4ea1" providerId="ADAL" clId="{9242D02F-3850-469A-9E84-08401F66F885}" dt="2022-11-22T23:40:54.935" v="1812"/>
          <ac:grpSpMkLst>
            <pc:docMk/>
            <pc:sldMk cId="2108451421" sldId="2147471467"/>
            <ac:grpSpMk id="31" creationId="{9C7895E6-DC26-598E-6569-598DDDDEB8DA}"/>
          </ac:grpSpMkLst>
        </pc:grpChg>
        <pc:grpChg chg="mod">
          <ac:chgData name="Jason Madden" userId="bc5fc663-4acf-4c70-beae-e4d4354e4ea1" providerId="ADAL" clId="{9242D02F-3850-469A-9E84-08401F66F885}" dt="2022-11-22T23:40:54.935" v="1812"/>
          <ac:grpSpMkLst>
            <pc:docMk/>
            <pc:sldMk cId="2108451421" sldId="2147471467"/>
            <ac:grpSpMk id="32" creationId="{38818AE7-04B7-F984-527C-9527E8B5C89F}"/>
          </ac:grpSpMkLst>
        </pc:grpChg>
        <pc:grpChg chg="del">
          <ac:chgData name="Jason Madden" userId="bc5fc663-4acf-4c70-beae-e4d4354e4ea1" providerId="ADAL" clId="{9242D02F-3850-469A-9E84-08401F66F885}" dt="2022-11-22T23:40:46.249" v="1810" actId="478"/>
          <ac:grpSpMkLst>
            <pc:docMk/>
            <pc:sldMk cId="2108451421" sldId="2147471467"/>
            <ac:grpSpMk id="163" creationId="{84D8D46C-B4DF-B2F5-E28E-2FEC8FEB6115}"/>
          </ac:grpSpMkLst>
        </pc:grpChg>
        <pc:grpChg chg="del">
          <ac:chgData name="Jason Madden" userId="bc5fc663-4acf-4c70-beae-e4d4354e4ea1" providerId="ADAL" clId="{9242D02F-3850-469A-9E84-08401F66F885}" dt="2022-11-22T23:40:47.416" v="1811" actId="478"/>
          <ac:grpSpMkLst>
            <pc:docMk/>
            <pc:sldMk cId="2108451421" sldId="2147471467"/>
            <ac:grpSpMk id="204" creationId="{49F69A40-9A2C-5B2E-BB25-77BF39985CFA}"/>
          </ac:grpSpMkLst>
        </pc:grpChg>
        <pc:grpChg chg="del">
          <ac:chgData name="Jason Madden" userId="bc5fc663-4acf-4c70-beae-e4d4354e4ea1" providerId="ADAL" clId="{9242D02F-3850-469A-9E84-08401F66F885}" dt="2022-11-22T23:40:46.249" v="1810" actId="478"/>
          <ac:grpSpMkLst>
            <pc:docMk/>
            <pc:sldMk cId="2108451421" sldId="2147471467"/>
            <ac:grpSpMk id="224" creationId="{C87A8260-2D71-308E-BE80-179D2528EBE9}"/>
          </ac:grpSpMkLst>
        </pc:grpChg>
        <pc:graphicFrameChg chg="del">
          <ac:chgData name="Jason Madden" userId="bc5fc663-4acf-4c70-beae-e4d4354e4ea1" providerId="ADAL" clId="{9242D02F-3850-469A-9E84-08401F66F885}" dt="2022-11-22T23:40:46.249" v="1810" actId="478"/>
          <ac:graphicFrameMkLst>
            <pc:docMk/>
            <pc:sldMk cId="2108451421" sldId="2147471467"/>
            <ac:graphicFrameMk id="5" creationId="{A2B2960B-707F-EC02-3E6F-1F119473D543}"/>
          </ac:graphicFrameMkLst>
        </pc:graphicFrameChg>
        <pc:graphicFrameChg chg="add mod">
          <ac:chgData name="Jason Madden" userId="bc5fc663-4acf-4c70-beae-e4d4354e4ea1" providerId="ADAL" clId="{9242D02F-3850-469A-9E84-08401F66F885}" dt="2022-11-22T23:40:54.935" v="1812"/>
          <ac:graphicFrameMkLst>
            <pc:docMk/>
            <pc:sldMk cId="2108451421" sldId="2147471467"/>
            <ac:graphicFrameMk id="8" creationId="{1474EB73-8B31-793A-82C9-E2B487ECAEF3}"/>
          </ac:graphicFrameMkLst>
        </pc:graphicFrameChg>
        <pc:graphicFrameChg chg="mod">
          <ac:chgData name="Jason Madden" userId="bc5fc663-4acf-4c70-beae-e4d4354e4ea1" providerId="ADAL" clId="{9242D02F-3850-469A-9E84-08401F66F885}" dt="2022-11-22T23:41:15.108" v="1901"/>
          <ac:graphicFrameMkLst>
            <pc:docMk/>
            <pc:sldMk cId="2108451421" sldId="2147471467"/>
            <ac:graphicFrameMk id="108" creationId="{E37255F3-CFDA-B4D2-F34B-5C54834F40ED}"/>
          </ac:graphicFrameMkLst>
        </pc:graphicFrameChg>
        <pc:cxnChg chg="mod">
          <ac:chgData name="Jason Madden" userId="bc5fc663-4acf-4c70-beae-e4d4354e4ea1" providerId="ADAL" clId="{9242D02F-3850-469A-9E84-08401F66F885}" dt="2022-11-22T23:40:54.935" v="1812"/>
          <ac:cxnSpMkLst>
            <pc:docMk/>
            <pc:sldMk cId="2108451421" sldId="2147471467"/>
            <ac:cxnSpMk id="10" creationId="{5812FB7C-E8BD-F1FA-FC92-5094E482C1CF}"/>
          </ac:cxnSpMkLst>
        </pc:cxnChg>
        <pc:cxnChg chg="mod">
          <ac:chgData name="Jason Madden" userId="bc5fc663-4acf-4c70-beae-e4d4354e4ea1" providerId="ADAL" clId="{9242D02F-3850-469A-9E84-08401F66F885}" dt="2022-11-22T23:40:54.935" v="1812"/>
          <ac:cxnSpMkLst>
            <pc:docMk/>
            <pc:sldMk cId="2108451421" sldId="2147471467"/>
            <ac:cxnSpMk id="26" creationId="{690C10BA-1FBE-4DF9-50FC-98EEEB86A8AE}"/>
          </ac:cxnSpMkLst>
        </pc:cxnChg>
        <pc:cxnChg chg="mod">
          <ac:chgData name="Jason Madden" userId="bc5fc663-4acf-4c70-beae-e4d4354e4ea1" providerId="ADAL" clId="{9242D02F-3850-469A-9E84-08401F66F885}" dt="2022-11-22T23:40:54.935" v="1812"/>
          <ac:cxnSpMkLst>
            <pc:docMk/>
            <pc:sldMk cId="2108451421" sldId="2147471467"/>
            <ac:cxnSpMk id="29" creationId="{A1D27F73-9C03-EE14-CD9F-EA53271669C4}"/>
          </ac:cxnSpMkLst>
        </pc:cxnChg>
        <pc:cxnChg chg="add mod">
          <ac:chgData name="Jason Madden" userId="bc5fc663-4acf-4c70-beae-e4d4354e4ea1" providerId="ADAL" clId="{9242D02F-3850-469A-9E84-08401F66F885}" dt="2022-11-22T23:40:54.935" v="1812"/>
          <ac:cxnSpMkLst>
            <pc:docMk/>
            <pc:sldMk cId="2108451421" sldId="2147471467"/>
            <ac:cxnSpMk id="59" creationId="{D9D430F8-FA32-CEEE-48B3-2936D2A58911}"/>
          </ac:cxnSpMkLst>
        </pc:cxnChg>
      </pc:sldChg>
      <pc:sldChg chg="addSp delSp modSp mod">
        <pc:chgData name="Jason Madden" userId="bc5fc663-4acf-4c70-beae-e4d4354e4ea1" providerId="ADAL" clId="{9242D02F-3850-469A-9E84-08401F66F885}" dt="2022-11-23T03:32:26.048" v="12788" actId="478"/>
        <pc:sldMkLst>
          <pc:docMk/>
          <pc:sldMk cId="511992274" sldId="2147471468"/>
        </pc:sldMkLst>
        <pc:spChg chg="mod">
          <ac:chgData name="Jason Madden" userId="bc5fc663-4acf-4c70-beae-e4d4354e4ea1" providerId="ADAL" clId="{9242D02F-3850-469A-9E84-08401F66F885}" dt="2022-11-22T23:42:11.749" v="1988" actId="948"/>
          <ac:spMkLst>
            <pc:docMk/>
            <pc:sldMk cId="511992274" sldId="2147471468"/>
            <ac:spMk id="2" creationId="{FC15DB9B-4DB9-0AC4-C398-732EC701F48A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1" creationId="{9DF0A573-1CBD-269C-44FF-399550ADFB99}"/>
          </ac:spMkLst>
        </pc:spChg>
        <pc:spChg chg="del">
          <ac:chgData name="Jason Madden" userId="bc5fc663-4acf-4c70-beae-e4d4354e4ea1" providerId="ADAL" clId="{9242D02F-3850-469A-9E84-08401F66F885}" dt="2022-11-22T23:42:15.246" v="2053" actId="478"/>
          <ac:spMkLst>
            <pc:docMk/>
            <pc:sldMk cId="511992274" sldId="2147471468"/>
            <ac:spMk id="12" creationId="{DD3C156D-AC68-4DE9-4BBE-B0AD2CFC3B03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24" creationId="{57B81451-FC89-7D80-03FD-2795C17AB969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27" creationId="{DF32EC9A-781D-D462-3873-3AF5592FF283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30" creationId="{EAFAA5DA-B0AD-D9B0-5A09-BB046C7BF9F6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33" creationId="{333409BC-6144-BA69-74D5-C4DF60440961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34" creationId="{1B9200FD-B285-E502-2633-4DCB475E357B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35" creationId="{B4E7EA88-DD3D-183D-5806-94C10CB29C8E}"/>
          </ac:spMkLst>
        </pc:spChg>
        <pc:spChg chg="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36" creationId="{0D573F55-F461-EA6B-EB05-3F38DCD76657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37" creationId="{FC06ADD3-C154-4DEE-FDC6-5202C75E9143}"/>
          </ac:spMkLst>
        </pc:spChg>
        <pc:spChg chg="add del mod">
          <ac:chgData name="Jason Madden" userId="bc5fc663-4acf-4c70-beae-e4d4354e4ea1" providerId="ADAL" clId="{9242D02F-3850-469A-9E84-08401F66F885}" dt="2022-11-23T03:30:43.927" v="12725" actId="478"/>
          <ac:spMkLst>
            <pc:docMk/>
            <pc:sldMk cId="511992274" sldId="2147471468"/>
            <ac:spMk id="38" creationId="{B50DE79B-0668-0716-9343-B03EDF34B135}"/>
          </ac:spMkLst>
        </pc:spChg>
        <pc:spChg chg="add del mod">
          <ac:chgData name="Jason Madden" userId="bc5fc663-4acf-4c70-beae-e4d4354e4ea1" providerId="ADAL" clId="{9242D02F-3850-469A-9E84-08401F66F885}" dt="2022-11-23T03:30:11.936" v="12724" actId="478"/>
          <ac:spMkLst>
            <pc:docMk/>
            <pc:sldMk cId="511992274" sldId="2147471468"/>
            <ac:spMk id="39" creationId="{FCE515F1-48CD-4263-05B3-19A1AFACA270}"/>
          </ac:spMkLst>
        </pc:spChg>
        <pc:spChg chg="add del mod">
          <ac:chgData name="Jason Madden" userId="bc5fc663-4acf-4c70-beae-e4d4354e4ea1" providerId="ADAL" clId="{9242D02F-3850-469A-9E84-08401F66F885}" dt="2022-11-23T03:30:11.936" v="12724" actId="478"/>
          <ac:spMkLst>
            <pc:docMk/>
            <pc:sldMk cId="511992274" sldId="2147471468"/>
            <ac:spMk id="42" creationId="{59E01F78-39E2-906B-3570-FBF73A8FD4B6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43" creationId="{CA2EDB40-2D4B-4606-25CA-E879C9BAAE3D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44" creationId="{1F5B7630-FF67-0541-366E-EA41AB696C78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45" creationId="{0780351D-2196-C5A3-6671-BA5772B8D46B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46" creationId="{BECF1314-4603-70E2-8312-2BE5DD2B5F00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47" creationId="{73C55329-EAF7-A356-80E4-E251CC39D663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48" creationId="{301B420B-B1A6-0B45-1975-B2F3E72B47A4}"/>
          </ac:spMkLst>
        </pc:spChg>
        <pc:spChg chg="add del mod">
          <ac:chgData name="Jason Madden" userId="bc5fc663-4acf-4c70-beae-e4d4354e4ea1" providerId="ADAL" clId="{9242D02F-3850-469A-9E84-08401F66F885}" dt="2022-11-23T03:30:11.936" v="12724" actId="478"/>
          <ac:spMkLst>
            <pc:docMk/>
            <pc:sldMk cId="511992274" sldId="2147471468"/>
            <ac:spMk id="49" creationId="{5E3CA012-F520-0F8C-FDE3-7912E3DA0545}"/>
          </ac:spMkLst>
        </pc:spChg>
        <pc:spChg chg="add del mod">
          <ac:chgData name="Jason Madden" userId="bc5fc663-4acf-4c70-beae-e4d4354e4ea1" providerId="ADAL" clId="{9242D02F-3850-469A-9E84-08401F66F885}" dt="2022-11-23T03:30:11.936" v="12724" actId="478"/>
          <ac:spMkLst>
            <pc:docMk/>
            <pc:sldMk cId="511992274" sldId="2147471468"/>
            <ac:spMk id="50" creationId="{FB191E86-DAD4-443B-D3FC-481BAD393401}"/>
          </ac:spMkLst>
        </pc:spChg>
        <pc:spChg chg="add del mod">
          <ac:chgData name="Jason Madden" userId="bc5fc663-4acf-4c70-beae-e4d4354e4ea1" providerId="ADAL" clId="{9242D02F-3850-469A-9E84-08401F66F885}" dt="2022-11-23T03:30:11.936" v="12724" actId="478"/>
          <ac:spMkLst>
            <pc:docMk/>
            <pc:sldMk cId="511992274" sldId="2147471468"/>
            <ac:spMk id="51" creationId="{81E7D38C-6AEA-62F5-85B6-BA65091495D4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52" creationId="{3A133523-E5B0-FE19-9C06-D8B6EC608D36}"/>
          </ac:spMkLst>
        </pc:spChg>
        <pc:spChg chg="add mod">
          <ac:chgData name="Jason Madden" userId="bc5fc663-4acf-4c70-beae-e4d4354e4ea1" providerId="ADAL" clId="{9242D02F-3850-469A-9E84-08401F66F885}" dt="2022-11-23T03:30:05.312" v="12723"/>
          <ac:spMkLst>
            <pc:docMk/>
            <pc:sldMk cId="511992274" sldId="2147471468"/>
            <ac:spMk id="53" creationId="{7B7149B7-EAA9-5A78-BFE8-46ED05E31E8A}"/>
          </ac:spMkLst>
        </pc:spChg>
        <pc:spChg chg="add del mod">
          <ac:chgData name="Jason Madden" userId="bc5fc663-4acf-4c70-beae-e4d4354e4ea1" providerId="ADAL" clId="{9242D02F-3850-469A-9E84-08401F66F885}" dt="2022-11-23T03:29:56.351" v="12721" actId="478"/>
          <ac:spMkLst>
            <pc:docMk/>
            <pc:sldMk cId="511992274" sldId="2147471468"/>
            <ac:spMk id="54" creationId="{A4DAF61C-F355-45EF-1C08-E5E4B271BF5D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55" creationId="{774872B3-B93C-B184-5E3B-A2D9EAC605FA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56" creationId="{1B4D85B7-29E0-227E-7D93-7A3D872FE680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57" creationId="{87FBD568-907C-580B-FE3D-47023EC69911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58" creationId="{6E3C9F57-026D-1CC7-5FBF-51B2FFB4690F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59" creationId="{25959C2F-04A9-9288-34EC-DE443CC54F65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61" creationId="{50AB54AC-B55C-035F-7637-AF645831FBE9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62" creationId="{B7C6648E-A7C4-970A-C6B3-5B420318FD81}"/>
          </ac:spMkLst>
        </pc:spChg>
        <pc:spChg chg="add mod">
          <ac:chgData name="Jason Madden" userId="bc5fc663-4acf-4c70-beae-e4d4354e4ea1" providerId="ADAL" clId="{9242D02F-3850-469A-9E84-08401F66F885}" dt="2022-11-22T23:41:49.384" v="1908"/>
          <ac:spMkLst>
            <pc:docMk/>
            <pc:sldMk cId="511992274" sldId="2147471468"/>
            <ac:spMk id="63" creationId="{015F2100-D9B0-AD98-7092-62249ED3AC18}"/>
          </ac:spMkLst>
        </pc:spChg>
        <pc:spChg chg="add del mod">
          <ac:chgData name="Jason Madden" userId="bc5fc663-4acf-4c70-beae-e4d4354e4ea1" providerId="ADAL" clId="{9242D02F-3850-469A-9E84-08401F66F885}" dt="2022-11-23T03:32:26.048" v="12788" actId="478"/>
          <ac:spMkLst>
            <pc:docMk/>
            <pc:sldMk cId="511992274" sldId="2147471468"/>
            <ac:spMk id="64" creationId="{8243F198-A94A-3833-0454-115F0B02271A}"/>
          </ac:spMkLst>
        </pc:spChg>
        <pc:spChg chg="add del mod modVis">
          <ac:chgData name="Jason Madden" userId="bc5fc663-4acf-4c70-beae-e4d4354e4ea1" providerId="ADAL" clId="{9242D02F-3850-469A-9E84-08401F66F885}" dt="2022-11-22T23:42:10.660" v="1982"/>
          <ac:spMkLst>
            <pc:docMk/>
            <pc:sldMk cId="511992274" sldId="2147471468"/>
            <ac:spMk id="65" creationId="{D09F3BC3-EBCF-5762-16A9-C5DBC9FB3E25}"/>
          </ac:spMkLst>
        </pc:spChg>
        <pc:spChg chg="add del mod modVis">
          <ac:chgData name="Jason Madden" userId="bc5fc663-4acf-4c70-beae-e4d4354e4ea1" providerId="ADAL" clId="{9242D02F-3850-469A-9E84-08401F66F885}" dt="2022-11-22T23:42:11.847" v="2050"/>
          <ac:spMkLst>
            <pc:docMk/>
            <pc:sldMk cId="511992274" sldId="2147471468"/>
            <ac:spMk id="66" creationId="{99720D1E-ADCC-C4A9-CB26-B5C263E2C7E9}"/>
          </ac:spMkLst>
        </pc:spChg>
        <pc:spChg chg="add mod">
          <ac:chgData name="Jason Madden" userId="bc5fc663-4acf-4c70-beae-e4d4354e4ea1" providerId="ADAL" clId="{9242D02F-3850-469A-9E84-08401F66F885}" dt="2022-11-23T03:29:59.462" v="12722"/>
          <ac:spMkLst>
            <pc:docMk/>
            <pc:sldMk cId="511992274" sldId="2147471468"/>
            <ac:spMk id="67" creationId="{6F16E544-BBA7-8487-7F16-F1778ECE0A13}"/>
          </ac:spMkLst>
        </pc:spChg>
        <pc:spChg chg="add mod">
          <ac:chgData name="Jason Madden" userId="bc5fc663-4acf-4c70-beae-e4d4354e4ea1" providerId="ADAL" clId="{9242D02F-3850-469A-9E84-08401F66F885}" dt="2022-11-23T03:32:20.902" v="12787" actId="1076"/>
          <ac:spMkLst>
            <pc:docMk/>
            <pc:sldMk cId="511992274" sldId="2147471468"/>
            <ac:spMk id="68" creationId="{32B3D936-2885-F11C-F94A-CD0D2EC63A59}"/>
          </ac:spMkLst>
        </pc:spChg>
        <pc:spChg chg="add mod">
          <ac:chgData name="Jason Madden" userId="bc5fc663-4acf-4c70-beae-e4d4354e4ea1" providerId="ADAL" clId="{9242D02F-3850-469A-9E84-08401F66F885}" dt="2022-11-23T03:32:20.902" v="12787" actId="1076"/>
          <ac:spMkLst>
            <pc:docMk/>
            <pc:sldMk cId="511992274" sldId="2147471468"/>
            <ac:spMk id="69" creationId="{CB280D31-41ED-E811-0DFF-C8FF0B8DF5E8}"/>
          </ac:spMkLst>
        </pc:spChg>
        <pc:spChg chg="add mod">
          <ac:chgData name="Jason Madden" userId="bc5fc663-4acf-4c70-beae-e4d4354e4ea1" providerId="ADAL" clId="{9242D02F-3850-469A-9E84-08401F66F885}" dt="2022-11-23T03:31:54.258" v="12760" actId="1076"/>
          <ac:spMkLst>
            <pc:docMk/>
            <pc:sldMk cId="511992274" sldId="2147471468"/>
            <ac:spMk id="70" creationId="{E3658416-197B-1728-1E8E-F957029659D2}"/>
          </ac:spMkLst>
        </pc:spChg>
        <pc:spChg chg="add mod">
          <ac:chgData name="Jason Madden" userId="bc5fc663-4acf-4c70-beae-e4d4354e4ea1" providerId="ADAL" clId="{9242D02F-3850-469A-9E84-08401F66F885}" dt="2022-11-23T03:32:14.722" v="12786" actId="14100"/>
          <ac:spMkLst>
            <pc:docMk/>
            <pc:sldMk cId="511992274" sldId="2147471468"/>
            <ac:spMk id="71" creationId="{4B32926E-28E7-F2E7-8AFE-49EE968BBA5A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62" creationId="{9DD8F3AB-B2DC-19BC-C765-9D2A27FC261F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88" creationId="{09CA605D-56A3-0DA1-D2C8-26B1A6E0DA31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89" creationId="{6E33041D-117F-FF9D-59C0-70AACBAAE7DE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90" creationId="{53298CE9-712F-9187-51AC-4253DC99E960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91" creationId="{C130F849-3CDF-17B5-0DA0-FC661B6E6B6A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96" creationId="{8C5B51E1-FF13-E51A-94AA-B5DC5134DDD7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98" creationId="{D91876A5-4DAA-8197-30E4-EC4EE1080323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199" creationId="{15F4E71D-32CB-6253-BD57-E135571BB310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05" creationId="{164EAEDB-F903-8AB3-F744-E6601241A8C8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06" creationId="{90AFC474-D99A-61D5-1776-E0A9804FB03C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07" creationId="{781CF360-ABA9-FE0E-835C-09B85526DB7D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08" creationId="{61D06880-7259-B10E-4410-44EFAA17E1AB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27" creationId="{183E2FE5-638A-EAC2-D1D8-AC08B8A9B4EA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28" creationId="{AE8C0BB0-D06C-6E44-EAAB-E28BCF76AFA7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29" creationId="{47C56D20-2212-E71A-566E-29E46E3805EB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32" creationId="{43B9D42B-6A23-BFDB-F57F-B01503B68F99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33" creationId="{122493D2-498F-D42F-5AB7-1BBAA305339F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34" creationId="{849B6185-1F96-95F5-4CC0-3B6A1EFFB379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35" creationId="{00A5263B-C6B2-8B77-C8E7-00000E5D60C5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37" creationId="{2D501803-86B8-A608-B63D-EEC390381F49}"/>
          </ac:spMkLst>
        </pc:spChg>
        <pc:spChg chg="del">
          <ac:chgData name="Jason Madden" userId="bc5fc663-4acf-4c70-beae-e4d4354e4ea1" providerId="ADAL" clId="{9242D02F-3850-469A-9E84-08401F66F885}" dt="2022-11-22T23:41:38.736" v="1903" actId="478"/>
          <ac:spMkLst>
            <pc:docMk/>
            <pc:sldMk cId="511992274" sldId="2147471468"/>
            <ac:spMk id="238" creationId="{F5270863-6A3C-F71D-6F4B-CE9381B9F693}"/>
          </ac:spMkLst>
        </pc:spChg>
        <pc:grpChg chg="del">
          <ac:chgData name="Jason Madden" userId="bc5fc663-4acf-4c70-beae-e4d4354e4ea1" providerId="ADAL" clId="{9242D02F-3850-469A-9E84-08401F66F885}" dt="2022-11-22T23:41:38.736" v="1903" actId="478"/>
          <ac:grpSpMkLst>
            <pc:docMk/>
            <pc:sldMk cId="511992274" sldId="2147471468"/>
            <ac:grpSpMk id="3" creationId="{B3D720CC-F9B9-0C1F-A33A-C845F99EF9AB}"/>
          </ac:grpSpMkLst>
        </pc:grpChg>
        <pc:grpChg chg="add mod">
          <ac:chgData name="Jason Madden" userId="bc5fc663-4acf-4c70-beae-e4d4354e4ea1" providerId="ADAL" clId="{9242D02F-3850-469A-9E84-08401F66F885}" dt="2022-11-22T23:41:49.384" v="1908"/>
          <ac:grpSpMkLst>
            <pc:docMk/>
            <pc:sldMk cId="511992274" sldId="2147471468"/>
            <ac:grpSpMk id="14" creationId="{9EDE9BE9-5AEC-A0FD-DDC1-A192CD008F8B}"/>
          </ac:grpSpMkLst>
        </pc:grpChg>
        <pc:grpChg chg="del">
          <ac:chgData name="Jason Madden" userId="bc5fc663-4acf-4c70-beae-e4d4354e4ea1" providerId="ADAL" clId="{9242D02F-3850-469A-9E84-08401F66F885}" dt="2022-11-22T23:41:38.736" v="1903" actId="478"/>
          <ac:grpSpMkLst>
            <pc:docMk/>
            <pc:sldMk cId="511992274" sldId="2147471468"/>
            <ac:grpSpMk id="17" creationId="{C092DF64-5F1C-5C27-7BB9-A8B9238CE368}"/>
          </ac:grpSpMkLst>
        </pc:grpChg>
        <pc:grpChg chg="add mod">
          <ac:chgData name="Jason Madden" userId="bc5fc663-4acf-4c70-beae-e4d4354e4ea1" providerId="ADAL" clId="{9242D02F-3850-469A-9E84-08401F66F885}" dt="2022-11-22T23:41:49.384" v="1908"/>
          <ac:grpSpMkLst>
            <pc:docMk/>
            <pc:sldMk cId="511992274" sldId="2147471468"/>
            <ac:grpSpMk id="25" creationId="{1F551503-72AC-E293-BA98-022876401792}"/>
          </ac:grpSpMkLst>
        </pc:grpChg>
        <pc:grpChg chg="add mod">
          <ac:chgData name="Jason Madden" userId="bc5fc663-4acf-4c70-beae-e4d4354e4ea1" providerId="ADAL" clId="{9242D02F-3850-469A-9E84-08401F66F885}" dt="2022-11-22T23:41:49.384" v="1908"/>
          <ac:grpSpMkLst>
            <pc:docMk/>
            <pc:sldMk cId="511992274" sldId="2147471468"/>
            <ac:grpSpMk id="28" creationId="{9B2988E7-4880-A7A4-A3AE-04170FD44020}"/>
          </ac:grpSpMkLst>
        </pc:grpChg>
        <pc:grpChg chg="add mod">
          <ac:chgData name="Jason Madden" userId="bc5fc663-4acf-4c70-beae-e4d4354e4ea1" providerId="ADAL" clId="{9242D02F-3850-469A-9E84-08401F66F885}" dt="2022-11-22T23:41:49.384" v="1908"/>
          <ac:grpSpMkLst>
            <pc:docMk/>
            <pc:sldMk cId="511992274" sldId="2147471468"/>
            <ac:grpSpMk id="31" creationId="{AE7FBE6A-7664-2911-CCF5-AE64BD601448}"/>
          </ac:grpSpMkLst>
        </pc:grpChg>
        <pc:grpChg chg="mod">
          <ac:chgData name="Jason Madden" userId="bc5fc663-4acf-4c70-beae-e4d4354e4ea1" providerId="ADAL" clId="{9242D02F-3850-469A-9E84-08401F66F885}" dt="2022-11-22T23:41:49.384" v="1908"/>
          <ac:grpSpMkLst>
            <pc:docMk/>
            <pc:sldMk cId="511992274" sldId="2147471468"/>
            <ac:grpSpMk id="32" creationId="{8607BB62-E34D-0AEC-B323-5B3CA0543A1C}"/>
          </ac:grpSpMkLst>
        </pc:grpChg>
        <pc:grpChg chg="del">
          <ac:chgData name="Jason Madden" userId="bc5fc663-4acf-4c70-beae-e4d4354e4ea1" providerId="ADAL" clId="{9242D02F-3850-469A-9E84-08401F66F885}" dt="2022-11-22T23:41:38.736" v="1903" actId="478"/>
          <ac:grpSpMkLst>
            <pc:docMk/>
            <pc:sldMk cId="511992274" sldId="2147471468"/>
            <ac:grpSpMk id="134" creationId="{5BCD3173-7B51-68FF-EB3B-BE92F4E7672C}"/>
          </ac:grpSpMkLst>
        </pc:grpChg>
        <pc:grpChg chg="del">
          <ac:chgData name="Jason Madden" userId="bc5fc663-4acf-4c70-beae-e4d4354e4ea1" providerId="ADAL" clId="{9242D02F-3850-469A-9E84-08401F66F885}" dt="2022-11-22T23:41:38.736" v="1903" actId="478"/>
          <ac:grpSpMkLst>
            <pc:docMk/>
            <pc:sldMk cId="511992274" sldId="2147471468"/>
            <ac:grpSpMk id="204" creationId="{49F69A40-9A2C-5B2E-BB25-77BF39985CFA}"/>
          </ac:grpSpMkLst>
        </pc:grpChg>
        <pc:grpChg chg="del">
          <ac:chgData name="Jason Madden" userId="bc5fc663-4acf-4c70-beae-e4d4354e4ea1" providerId="ADAL" clId="{9242D02F-3850-469A-9E84-08401F66F885}" dt="2022-11-22T23:41:38.736" v="1903" actId="478"/>
          <ac:grpSpMkLst>
            <pc:docMk/>
            <pc:sldMk cId="511992274" sldId="2147471468"/>
            <ac:grpSpMk id="224" creationId="{C87A8260-2D71-308E-BE80-179D2528EBE9}"/>
          </ac:grpSpMkLst>
        </pc:grpChg>
        <pc:graphicFrameChg chg="del">
          <ac:chgData name="Jason Madden" userId="bc5fc663-4acf-4c70-beae-e4d4354e4ea1" providerId="ADAL" clId="{9242D02F-3850-469A-9E84-08401F66F885}" dt="2022-11-22T23:41:38.736" v="1903" actId="478"/>
          <ac:graphicFrameMkLst>
            <pc:docMk/>
            <pc:sldMk cId="511992274" sldId="2147471468"/>
            <ac:graphicFrameMk id="5" creationId="{A2B2960B-707F-EC02-3E6F-1F119473D543}"/>
          </ac:graphicFrameMkLst>
        </pc:graphicFrameChg>
        <pc:graphicFrameChg chg="add mod">
          <ac:chgData name="Jason Madden" userId="bc5fc663-4acf-4c70-beae-e4d4354e4ea1" providerId="ADAL" clId="{9242D02F-3850-469A-9E84-08401F66F885}" dt="2022-11-22T23:41:49.384" v="1908"/>
          <ac:graphicFrameMkLst>
            <pc:docMk/>
            <pc:sldMk cId="511992274" sldId="2147471468"/>
            <ac:graphicFrameMk id="13" creationId="{9EE70A19-C5F6-8AF8-7BA7-3A2E5DBFE82C}"/>
          </ac:graphicFrameMkLst>
        </pc:graphicFrameChg>
        <pc:graphicFrameChg chg="mod">
          <ac:chgData name="Jason Madden" userId="bc5fc663-4acf-4c70-beae-e4d4354e4ea1" providerId="ADAL" clId="{9242D02F-3850-469A-9E84-08401F66F885}" dt="2022-11-22T23:42:11.850" v="2052"/>
          <ac:graphicFrameMkLst>
            <pc:docMk/>
            <pc:sldMk cId="511992274" sldId="2147471468"/>
            <ac:graphicFrameMk id="108" creationId="{E37255F3-CFDA-B4D2-F34B-5C54834F40ED}"/>
          </ac:graphicFrameMkLst>
        </pc:graphicFrameChg>
        <pc:cxnChg chg="mod">
          <ac:chgData name="Jason Madden" userId="bc5fc663-4acf-4c70-beae-e4d4354e4ea1" providerId="ADAL" clId="{9242D02F-3850-469A-9E84-08401F66F885}" dt="2022-11-22T23:41:49.384" v="1908"/>
          <ac:cxnSpMkLst>
            <pc:docMk/>
            <pc:sldMk cId="511992274" sldId="2147471468"/>
            <ac:cxnSpMk id="16" creationId="{78640A0F-5848-7934-E767-D66D66415FCC}"/>
          </ac:cxnSpMkLst>
        </pc:cxnChg>
        <pc:cxnChg chg="mod">
          <ac:chgData name="Jason Madden" userId="bc5fc663-4acf-4c70-beae-e4d4354e4ea1" providerId="ADAL" clId="{9242D02F-3850-469A-9E84-08401F66F885}" dt="2022-11-22T23:41:49.384" v="1908"/>
          <ac:cxnSpMkLst>
            <pc:docMk/>
            <pc:sldMk cId="511992274" sldId="2147471468"/>
            <ac:cxnSpMk id="26" creationId="{E481FAB6-E51A-0A5F-9BD0-94C70DCA5681}"/>
          </ac:cxnSpMkLst>
        </pc:cxnChg>
        <pc:cxnChg chg="mod">
          <ac:chgData name="Jason Madden" userId="bc5fc663-4acf-4c70-beae-e4d4354e4ea1" providerId="ADAL" clId="{9242D02F-3850-469A-9E84-08401F66F885}" dt="2022-11-22T23:41:49.384" v="1908"/>
          <ac:cxnSpMkLst>
            <pc:docMk/>
            <pc:sldMk cId="511992274" sldId="2147471468"/>
            <ac:cxnSpMk id="29" creationId="{DB11B07A-6C21-A679-14C7-8860A545982C}"/>
          </ac:cxnSpMkLst>
        </pc:cxnChg>
        <pc:cxnChg chg="add mod">
          <ac:chgData name="Jason Madden" userId="bc5fc663-4acf-4c70-beae-e4d4354e4ea1" providerId="ADAL" clId="{9242D02F-3850-469A-9E84-08401F66F885}" dt="2022-11-22T23:41:49.384" v="1908"/>
          <ac:cxnSpMkLst>
            <pc:docMk/>
            <pc:sldMk cId="511992274" sldId="2147471468"/>
            <ac:cxnSpMk id="60" creationId="{FB9FFD76-ADE1-E2AE-A00F-160F13E5E215}"/>
          </ac:cxnSpMkLst>
        </pc:cxnChg>
      </pc:sldChg>
      <pc:sldChg chg="add">
        <pc:chgData name="Jason Madden" userId="bc5fc663-4acf-4c70-beae-e4d4354e4ea1" providerId="ADAL" clId="{9242D02F-3850-469A-9E84-08401F66F885}" dt="2022-11-22T23:45:58.775" v="2151"/>
        <pc:sldMkLst>
          <pc:docMk/>
          <pc:sldMk cId="460557699" sldId="2147471469"/>
        </pc:sldMkLst>
      </pc:sldChg>
      <pc:sldChg chg="add del">
        <pc:chgData name="Jason Madden" userId="bc5fc663-4acf-4c70-beae-e4d4354e4ea1" providerId="ADAL" clId="{9242D02F-3850-469A-9E84-08401F66F885}" dt="2022-11-22T23:41:40.283" v="1905"/>
        <pc:sldMkLst>
          <pc:docMk/>
          <pc:sldMk cId="1358396378" sldId="2147471469"/>
        </pc:sldMkLst>
      </pc:sldChg>
      <pc:sldChg chg="add del">
        <pc:chgData name="Jason Madden" userId="bc5fc663-4acf-4c70-beae-e4d4354e4ea1" providerId="ADAL" clId="{9242D02F-3850-469A-9E84-08401F66F885}" dt="2022-11-22T23:41:42.381" v="1907"/>
        <pc:sldMkLst>
          <pc:docMk/>
          <pc:sldMk cId="1590286669" sldId="2147471469"/>
        </pc:sldMkLst>
      </pc:sldChg>
      <pc:sldChg chg="addSp delSp modSp mod">
        <pc:chgData name="Jason Madden" userId="bc5fc663-4acf-4c70-beae-e4d4354e4ea1" providerId="ADAL" clId="{9242D02F-3850-469A-9E84-08401F66F885}" dt="2022-11-23T02:28:02.386" v="11786"/>
        <pc:sldMkLst>
          <pc:docMk/>
          <pc:sldMk cId="9112583" sldId="2147471470"/>
        </pc:sldMkLst>
        <pc:spChg chg="mod">
          <ac:chgData name="Jason Madden" userId="bc5fc663-4acf-4c70-beae-e4d4354e4ea1" providerId="ADAL" clId="{9242D02F-3850-469A-9E84-08401F66F885}" dt="2022-11-23T02:28:02.344" v="11743" actId="948"/>
          <ac:spMkLst>
            <pc:docMk/>
            <pc:sldMk cId="9112583" sldId="2147471470"/>
            <ac:spMk id="2" creationId="{92BEAD6C-2F06-DB33-1FDF-0EC369C78368}"/>
          </ac:spMkLst>
        </pc:spChg>
        <pc:spChg chg="add del mod modVis">
          <ac:chgData name="Jason Madden" userId="bc5fc663-4acf-4c70-beae-e4d4354e4ea1" providerId="ADAL" clId="{9242D02F-3850-469A-9E84-08401F66F885}" dt="2022-11-23T02:28:01.589" v="11739"/>
          <ac:spMkLst>
            <pc:docMk/>
            <pc:sldMk cId="9112583" sldId="2147471470"/>
            <ac:spMk id="4" creationId="{A774C08C-0770-EC4C-DDC3-4309F947B8DA}"/>
          </ac:spMkLst>
        </pc:spChg>
        <pc:spChg chg="add del mod modVis">
          <ac:chgData name="Jason Madden" userId="bc5fc663-4acf-4c70-beae-e4d4354e4ea1" providerId="ADAL" clId="{9242D02F-3850-469A-9E84-08401F66F885}" dt="2022-11-23T02:28:02.383" v="11784"/>
          <ac:spMkLst>
            <pc:docMk/>
            <pc:sldMk cId="9112583" sldId="2147471470"/>
            <ac:spMk id="6" creationId="{08231ED8-EBBB-8A97-6C91-3DA6364B86F4}"/>
          </ac:spMkLst>
        </pc:spChg>
        <pc:graphicFrameChg chg="mod">
          <ac:chgData name="Jason Madden" userId="bc5fc663-4acf-4c70-beae-e4d4354e4ea1" providerId="ADAL" clId="{9242D02F-3850-469A-9E84-08401F66F885}" dt="2022-11-23T02:28:02.386" v="11786"/>
          <ac:graphicFrameMkLst>
            <pc:docMk/>
            <pc:sldMk cId="9112583" sldId="2147471470"/>
            <ac:graphicFrameMk id="5" creationId="{AE4D5EED-9A99-3CCD-D1C1-B87D68D68BE2}"/>
          </ac:graphicFrameMkLst>
        </pc:graphicFrameChg>
      </pc:sldChg>
      <pc:sldChg chg="del">
        <pc:chgData name="Jason Madden" userId="bc5fc663-4acf-4c70-beae-e4d4354e4ea1" providerId="ADAL" clId="{9242D02F-3850-469A-9E84-08401F66F885}" dt="2022-11-23T03:45:09.317" v="12791" actId="47"/>
        <pc:sldMkLst>
          <pc:docMk/>
          <pc:sldMk cId="3721118092" sldId="2147471476"/>
        </pc:sldMkLst>
      </pc:sldChg>
      <pc:sldChg chg="del">
        <pc:chgData name="Jason Madden" userId="bc5fc663-4acf-4c70-beae-e4d4354e4ea1" providerId="ADAL" clId="{9242D02F-3850-469A-9E84-08401F66F885}" dt="2022-11-23T02:28:15.282" v="11787" actId="47"/>
        <pc:sldMkLst>
          <pc:docMk/>
          <pc:sldMk cId="4059306367" sldId="2147471477"/>
        </pc:sldMkLst>
      </pc:sldChg>
      <pc:sldChg chg="del">
        <pc:chgData name="Jason Madden" userId="bc5fc663-4acf-4c70-beae-e4d4354e4ea1" providerId="ADAL" clId="{9242D02F-3850-469A-9E84-08401F66F885}" dt="2022-11-23T02:28:16.839" v="11788" actId="47"/>
        <pc:sldMkLst>
          <pc:docMk/>
          <pc:sldMk cId="1626181575" sldId="2147471478"/>
        </pc:sldMkLst>
      </pc:sldChg>
      <pc:sldChg chg="del">
        <pc:chgData name="Jason Madden" userId="bc5fc663-4acf-4c70-beae-e4d4354e4ea1" providerId="ADAL" clId="{9242D02F-3850-469A-9E84-08401F66F885}" dt="2022-11-23T03:44:48.249" v="12790" actId="47"/>
        <pc:sldMkLst>
          <pc:docMk/>
          <pc:sldMk cId="3007489433" sldId="2147471481"/>
        </pc:sldMkLst>
      </pc:sldChg>
      <pc:sldChg chg="del">
        <pc:chgData name="Jason Madden" userId="bc5fc663-4acf-4c70-beae-e4d4354e4ea1" providerId="ADAL" clId="{9242D02F-3850-469A-9E84-08401F66F885}" dt="2022-11-23T02:28:46.659" v="11789" actId="47"/>
        <pc:sldMkLst>
          <pc:docMk/>
          <pc:sldMk cId="3446442921" sldId="2147471483"/>
        </pc:sldMkLst>
      </pc:sldChg>
      <pc:sldChg chg="modSp add del mod">
        <pc:chgData name="Jason Madden" userId="bc5fc663-4acf-4c70-beae-e4d4354e4ea1" providerId="ADAL" clId="{9242D02F-3850-469A-9E84-08401F66F885}" dt="2022-11-23T02:28:57.591" v="11793"/>
        <pc:sldMkLst>
          <pc:docMk/>
          <pc:sldMk cId="2490384609" sldId="2147471484"/>
        </pc:sldMkLst>
        <pc:graphicFrameChg chg="mod">
          <ac:chgData name="Jason Madden" userId="bc5fc663-4acf-4c70-beae-e4d4354e4ea1" providerId="ADAL" clId="{9242D02F-3850-469A-9E84-08401F66F885}" dt="2022-11-23T02:28:57.591" v="11793"/>
          <ac:graphicFrameMkLst>
            <pc:docMk/>
            <pc:sldMk cId="2490384609" sldId="2147471484"/>
            <ac:graphicFrameMk id="5" creationId="{28422D06-2229-6E64-B273-7B2A487F59F1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3T02:52:05.106" v="12656"/>
        <pc:sldMkLst>
          <pc:docMk/>
          <pc:sldMk cId="2182615737" sldId="2147471488"/>
        </pc:sldMkLst>
        <pc:spChg chg="add mod">
          <ac:chgData name="Jason Madden" userId="bc5fc663-4acf-4c70-beae-e4d4354e4ea1" providerId="ADAL" clId="{9242D02F-3850-469A-9E84-08401F66F885}" dt="2022-11-23T02:52:05.106" v="12656"/>
          <ac:spMkLst>
            <pc:docMk/>
            <pc:sldMk cId="2182615737" sldId="2147471488"/>
            <ac:spMk id="6" creationId="{CC882E7F-7761-F1BB-9546-309F23477674}"/>
          </ac:spMkLst>
        </pc:spChg>
        <pc:graphicFrameChg chg="add mod">
          <ac:chgData name="Jason Madden" userId="bc5fc663-4acf-4c70-beae-e4d4354e4ea1" providerId="ADAL" clId="{9242D02F-3850-469A-9E84-08401F66F885}" dt="2022-11-23T02:52:05.106" v="12656"/>
          <ac:graphicFrameMkLst>
            <pc:docMk/>
            <pc:sldMk cId="2182615737" sldId="2147471488"/>
            <ac:graphicFrameMk id="3" creationId="{25C52121-8757-4326-8784-F44475EA979F}"/>
          </ac:graphicFrameMkLst>
        </pc:graphicFrameChg>
        <pc:graphicFrameChg chg="del">
          <ac:chgData name="Jason Madden" userId="bc5fc663-4acf-4c70-beae-e4d4354e4ea1" providerId="ADAL" clId="{9242D02F-3850-469A-9E84-08401F66F885}" dt="2022-11-23T02:52:04.742" v="12655" actId="478"/>
          <ac:graphicFrameMkLst>
            <pc:docMk/>
            <pc:sldMk cId="2182615737" sldId="2147471488"/>
            <ac:graphicFrameMk id="5" creationId="{54ACC98F-FCBB-48CE-8F70-8D13F7E22E42}"/>
          </ac:graphicFrameMkLst>
        </pc:graphicFrameChg>
      </pc:sldChg>
      <pc:sldChg chg="del">
        <pc:chgData name="Jason Madden" userId="bc5fc663-4acf-4c70-beae-e4d4354e4ea1" providerId="ADAL" clId="{9242D02F-3850-469A-9E84-08401F66F885}" dt="2022-11-23T02:52:57.582" v="12658" actId="47"/>
        <pc:sldMkLst>
          <pc:docMk/>
          <pc:sldMk cId="1241451096" sldId="2147471489"/>
        </pc:sldMkLst>
      </pc:sldChg>
      <pc:sldChg chg="modSp">
        <pc:chgData name="Jason Madden" userId="bc5fc663-4acf-4c70-beae-e4d4354e4ea1" providerId="ADAL" clId="{9242D02F-3850-469A-9E84-08401F66F885}" dt="2022-11-23T02:53:05.488" v="12661" actId="20577"/>
        <pc:sldMkLst>
          <pc:docMk/>
          <pc:sldMk cId="783072481" sldId="2147471490"/>
        </pc:sldMkLst>
        <pc:graphicFrameChg chg="mod">
          <ac:chgData name="Jason Madden" userId="bc5fc663-4acf-4c70-beae-e4d4354e4ea1" providerId="ADAL" clId="{9242D02F-3850-469A-9E84-08401F66F885}" dt="2022-11-23T02:53:05.488" v="12661" actId="20577"/>
          <ac:graphicFrameMkLst>
            <pc:docMk/>
            <pc:sldMk cId="783072481" sldId="2147471490"/>
            <ac:graphicFrameMk id="6" creationId="{51AFC3C4-6212-4895-90D7-9EEBAA573B16}"/>
          </ac:graphicFrameMkLst>
        </pc:graphicFrameChg>
      </pc:sldChg>
      <pc:sldChg chg="addSp delSp modSp mod">
        <pc:chgData name="Jason Madden" userId="bc5fc663-4acf-4c70-beae-e4d4354e4ea1" providerId="ADAL" clId="{9242D02F-3850-469A-9E84-08401F66F885}" dt="2022-11-23T02:51:10.327" v="12654"/>
        <pc:sldMkLst>
          <pc:docMk/>
          <pc:sldMk cId="1597789525" sldId="2147471493"/>
        </pc:sldMkLst>
        <pc:spChg chg="mod">
          <ac:chgData name="Jason Madden" userId="bc5fc663-4acf-4c70-beae-e4d4354e4ea1" providerId="ADAL" clId="{9242D02F-3850-469A-9E84-08401F66F885}" dt="2022-11-23T02:50:57.377" v="12402" actId="948"/>
          <ac:spMkLst>
            <pc:docMk/>
            <pc:sldMk cId="1597789525" sldId="2147471493"/>
            <ac:spMk id="2" creationId="{0FA0D718-E49E-0CBB-C450-E246864E2E3B}"/>
          </ac:spMkLst>
        </pc:spChg>
        <pc:spChg chg="add del mod modVis">
          <ac:chgData name="Jason Madden" userId="bc5fc663-4acf-4c70-beae-e4d4354e4ea1" providerId="ADAL" clId="{9242D02F-3850-469A-9E84-08401F66F885}" dt="2022-11-23T02:50:46.873" v="12042"/>
          <ac:spMkLst>
            <pc:docMk/>
            <pc:sldMk cId="1597789525" sldId="2147471493"/>
            <ac:spMk id="3" creationId="{1CD9989E-62DC-6600-FFE3-7DA5868AE211}"/>
          </ac:spMkLst>
        </pc:spChg>
        <pc:spChg chg="del">
          <ac:chgData name="Jason Madden" userId="bc5fc663-4acf-4c70-beae-e4d4354e4ea1" providerId="ADAL" clId="{9242D02F-3850-469A-9E84-08401F66F885}" dt="2022-11-23T02:50:46.640" v="11856"/>
          <ac:spMkLst>
            <pc:docMk/>
            <pc:sldMk cId="1597789525" sldId="2147471493"/>
            <ac:spMk id="6" creationId="{C3427A7A-FBF3-DCE9-0B03-B7F4C037FDAB}"/>
          </ac:spMkLst>
        </pc:spChg>
        <pc:spChg chg="del">
          <ac:chgData name="Jason Madden" userId="bc5fc663-4acf-4c70-beae-e4d4354e4ea1" providerId="ADAL" clId="{9242D02F-3850-469A-9E84-08401F66F885}" dt="2022-11-23T02:50:46.635" v="11851"/>
          <ac:spMkLst>
            <pc:docMk/>
            <pc:sldMk cId="1597789525" sldId="2147471493"/>
            <ac:spMk id="7" creationId="{B1C7353A-38BA-22DC-7CDD-9414526726C6}"/>
          </ac:spMkLst>
        </pc:spChg>
        <pc:spChg chg="add mod replST">
          <ac:chgData name="Jason Madden" userId="bc5fc663-4acf-4c70-beae-e4d4354e4ea1" providerId="ADAL" clId="{9242D02F-3850-469A-9E84-08401F66F885}" dt="2022-11-23T02:50:57.909" v="12642"/>
          <ac:spMkLst>
            <pc:docMk/>
            <pc:sldMk cId="1597789525" sldId="2147471493"/>
            <ac:spMk id="8" creationId="{F9614FE8-4A96-80D2-DB8C-E81E91AAC8E4}"/>
          </ac:spMkLst>
        </pc:spChg>
        <pc:spChg chg="add mod replST">
          <ac:chgData name="Jason Madden" userId="bc5fc663-4acf-4c70-beae-e4d4354e4ea1" providerId="ADAL" clId="{9242D02F-3850-469A-9E84-08401F66F885}" dt="2022-11-23T02:50:57.914" v="12645"/>
          <ac:spMkLst>
            <pc:docMk/>
            <pc:sldMk cId="1597789525" sldId="2147471493"/>
            <ac:spMk id="9" creationId="{2C3EB6A2-4953-239C-9F85-F8904EF1D7D5}"/>
          </ac:spMkLst>
        </pc:spChg>
        <pc:spChg chg="add mod replST">
          <ac:chgData name="Jason Madden" userId="bc5fc663-4acf-4c70-beae-e4d4354e4ea1" providerId="ADAL" clId="{9242D02F-3850-469A-9E84-08401F66F885}" dt="2022-11-23T02:50:57.883" v="12627"/>
          <ac:spMkLst>
            <pc:docMk/>
            <pc:sldMk cId="1597789525" sldId="2147471493"/>
            <ac:spMk id="10" creationId="{954E91CE-D861-8A50-A0A9-3285D2FF245D}"/>
          </ac:spMkLst>
        </pc:spChg>
        <pc:spChg chg="add mod replST">
          <ac:chgData name="Jason Madden" userId="bc5fc663-4acf-4c70-beae-e4d4354e4ea1" providerId="ADAL" clId="{9242D02F-3850-469A-9E84-08401F66F885}" dt="2022-11-23T02:50:57.889" v="12630"/>
          <ac:spMkLst>
            <pc:docMk/>
            <pc:sldMk cId="1597789525" sldId="2147471493"/>
            <ac:spMk id="11" creationId="{ECD6A5A5-C59D-1926-F143-69B1BBA48345}"/>
          </ac:spMkLst>
        </pc:spChg>
        <pc:spChg chg="add mod replST">
          <ac:chgData name="Jason Madden" userId="bc5fc663-4acf-4c70-beae-e4d4354e4ea1" providerId="ADAL" clId="{9242D02F-3850-469A-9E84-08401F66F885}" dt="2022-11-23T02:50:57.893" v="12633"/>
          <ac:spMkLst>
            <pc:docMk/>
            <pc:sldMk cId="1597789525" sldId="2147471493"/>
            <ac:spMk id="12" creationId="{00FDA3B1-35E8-812B-7A41-584D989A3859}"/>
          </ac:spMkLst>
        </pc:spChg>
        <pc:spChg chg="add mod replST">
          <ac:chgData name="Jason Madden" userId="bc5fc663-4acf-4c70-beae-e4d4354e4ea1" providerId="ADAL" clId="{9242D02F-3850-469A-9E84-08401F66F885}" dt="2022-11-23T02:50:57.898" v="12636"/>
          <ac:spMkLst>
            <pc:docMk/>
            <pc:sldMk cId="1597789525" sldId="2147471493"/>
            <ac:spMk id="13" creationId="{5696A645-C9EE-AAA4-630E-CE964B70A7D8}"/>
          </ac:spMkLst>
        </pc:spChg>
        <pc:spChg chg="add mod replST">
          <ac:chgData name="Jason Madden" userId="bc5fc663-4acf-4c70-beae-e4d4354e4ea1" providerId="ADAL" clId="{9242D02F-3850-469A-9E84-08401F66F885}" dt="2022-11-23T02:50:57.904" v="12639"/>
          <ac:spMkLst>
            <pc:docMk/>
            <pc:sldMk cId="1597789525" sldId="2147471493"/>
            <ac:spMk id="14" creationId="{7F421C44-5D73-4E1D-8782-D80998E07A48}"/>
          </ac:spMkLst>
        </pc:spChg>
        <pc:spChg chg="del">
          <ac:chgData name="Jason Madden" userId="bc5fc663-4acf-4c70-beae-e4d4354e4ea1" providerId="ADAL" clId="{9242D02F-3850-469A-9E84-08401F66F885}" dt="2022-11-23T02:50:46.676" v="11907"/>
          <ac:spMkLst>
            <pc:docMk/>
            <pc:sldMk cId="1597789525" sldId="2147471493"/>
            <ac:spMk id="15" creationId="{C097A9BF-EEA3-46D0-858D-66005C4F7973}"/>
          </ac:spMkLst>
        </pc:spChg>
        <pc:spChg chg="del">
          <ac:chgData name="Jason Madden" userId="bc5fc663-4acf-4c70-beae-e4d4354e4ea1" providerId="ADAL" clId="{9242D02F-3850-469A-9E84-08401F66F885}" dt="2022-11-23T02:50:46.674" v="11904"/>
          <ac:spMkLst>
            <pc:docMk/>
            <pc:sldMk cId="1597789525" sldId="2147471493"/>
            <ac:spMk id="17" creationId="{C097A9BF-EEA3-46D0-858D-66005C4F7973}"/>
          </ac:spMkLst>
        </pc:spChg>
        <pc:spChg chg="del">
          <ac:chgData name="Jason Madden" userId="bc5fc663-4acf-4c70-beae-e4d4354e4ea1" providerId="ADAL" clId="{9242D02F-3850-469A-9E84-08401F66F885}" dt="2022-11-23T02:50:46.670" v="11898"/>
          <ac:spMkLst>
            <pc:docMk/>
            <pc:sldMk cId="1597789525" sldId="2147471493"/>
            <ac:spMk id="18" creationId="{C097A9BF-EEA3-46D0-858D-66005C4F7973}"/>
          </ac:spMkLst>
        </pc:spChg>
        <pc:spChg chg="del">
          <ac:chgData name="Jason Madden" userId="bc5fc663-4acf-4c70-beae-e4d4354e4ea1" providerId="ADAL" clId="{9242D02F-3850-469A-9E84-08401F66F885}" dt="2022-11-23T02:50:46.664" v="11888"/>
          <ac:spMkLst>
            <pc:docMk/>
            <pc:sldMk cId="1597789525" sldId="2147471493"/>
            <ac:spMk id="20" creationId="{C097A9BF-EEA3-46D0-858D-66005C4F7973}"/>
          </ac:spMkLst>
        </pc:spChg>
        <pc:spChg chg="del">
          <ac:chgData name="Jason Madden" userId="bc5fc663-4acf-4c70-beae-e4d4354e4ea1" providerId="ADAL" clId="{9242D02F-3850-469A-9E84-08401F66F885}" dt="2022-11-23T02:50:46.661" v="11883"/>
          <ac:spMkLst>
            <pc:docMk/>
            <pc:sldMk cId="1597789525" sldId="2147471493"/>
            <ac:spMk id="21" creationId="{C097A9BF-EEA3-46D0-858D-66005C4F7973}"/>
          </ac:spMkLst>
        </pc:spChg>
        <pc:spChg chg="del">
          <ac:chgData name="Jason Madden" userId="bc5fc663-4acf-4c70-beae-e4d4354e4ea1" providerId="ADAL" clId="{9242D02F-3850-469A-9E84-08401F66F885}" dt="2022-11-23T02:50:46.677" v="11908"/>
          <ac:spMkLst>
            <pc:docMk/>
            <pc:sldMk cId="1597789525" sldId="2147471493"/>
            <ac:spMk id="22" creationId="{C097A9BF-EEA3-46D0-858D-66005C4F7973}"/>
          </ac:spMkLst>
        </pc:spChg>
        <pc:spChg chg="add mod replST">
          <ac:chgData name="Jason Madden" userId="bc5fc663-4acf-4c70-beae-e4d4354e4ea1" providerId="ADAL" clId="{9242D02F-3850-469A-9E84-08401F66F885}" dt="2022-11-23T02:50:56.646" v="12060"/>
          <ac:spMkLst>
            <pc:docMk/>
            <pc:sldMk cId="1597789525" sldId="2147471493"/>
            <ac:spMk id="51" creationId="{0E120CD4-6E4E-06CA-D100-E704A8AABA84}"/>
          </ac:spMkLst>
        </pc:spChg>
        <pc:spChg chg="add mod replST">
          <ac:chgData name="Jason Madden" userId="bc5fc663-4acf-4c70-beae-e4d4354e4ea1" providerId="ADAL" clId="{9242D02F-3850-469A-9E84-08401F66F885}" dt="2022-11-23T02:50:56.647" v="12062"/>
          <ac:spMkLst>
            <pc:docMk/>
            <pc:sldMk cId="1597789525" sldId="2147471493"/>
            <ac:spMk id="52" creationId="{768759B3-F2EF-E2DA-02D0-262682055004}"/>
          </ac:spMkLst>
        </pc:spChg>
        <pc:spChg chg="add mod replST">
          <ac:chgData name="Jason Madden" userId="bc5fc663-4acf-4c70-beae-e4d4354e4ea1" providerId="ADAL" clId="{9242D02F-3850-469A-9E84-08401F66F885}" dt="2022-11-23T02:50:56.668" v="12094"/>
          <ac:spMkLst>
            <pc:docMk/>
            <pc:sldMk cId="1597789525" sldId="2147471493"/>
            <ac:spMk id="53" creationId="{5EADFF1B-E177-616C-78E9-70DAFD11E409}"/>
          </ac:spMkLst>
        </pc:spChg>
        <pc:spChg chg="add mod replST">
          <ac:chgData name="Jason Madden" userId="bc5fc663-4acf-4c70-beae-e4d4354e4ea1" providerId="ADAL" clId="{9242D02F-3850-469A-9E84-08401F66F885}" dt="2022-11-23T02:50:56.649" v="12065"/>
          <ac:spMkLst>
            <pc:docMk/>
            <pc:sldMk cId="1597789525" sldId="2147471493"/>
            <ac:spMk id="54" creationId="{B42A26B9-E560-ADA7-9BFC-CE32652F3460}"/>
          </ac:spMkLst>
        </pc:spChg>
        <pc:spChg chg="add mod replST">
          <ac:chgData name="Jason Madden" userId="bc5fc663-4acf-4c70-beae-e4d4354e4ea1" providerId="ADAL" clId="{9242D02F-3850-469A-9E84-08401F66F885}" dt="2022-11-23T02:50:56.654" v="12074"/>
          <ac:spMkLst>
            <pc:docMk/>
            <pc:sldMk cId="1597789525" sldId="2147471493"/>
            <ac:spMk id="55" creationId="{51909620-A118-9631-60A9-0E23014B7111}"/>
          </ac:spMkLst>
        </pc:spChg>
        <pc:spChg chg="add mod replST">
          <ac:chgData name="Jason Madden" userId="bc5fc663-4acf-4c70-beae-e4d4354e4ea1" providerId="ADAL" clId="{9242D02F-3850-469A-9E84-08401F66F885}" dt="2022-11-23T02:50:56.666" v="12091"/>
          <ac:spMkLst>
            <pc:docMk/>
            <pc:sldMk cId="1597789525" sldId="2147471493"/>
            <ac:spMk id="56" creationId="{8F8F8DA1-0D6A-0624-D07F-ED273E464588}"/>
          </ac:spMkLst>
        </pc:spChg>
        <pc:spChg chg="add mod replST">
          <ac:chgData name="Jason Madden" userId="bc5fc663-4acf-4c70-beae-e4d4354e4ea1" providerId="ADAL" clId="{9242D02F-3850-469A-9E84-08401F66F885}" dt="2022-11-23T02:50:56.650" v="12068"/>
          <ac:spMkLst>
            <pc:docMk/>
            <pc:sldMk cId="1597789525" sldId="2147471493"/>
            <ac:spMk id="57" creationId="{98E6BD10-6D53-CFB6-5749-EFCFF50D42C8}"/>
          </ac:spMkLst>
        </pc:spChg>
        <pc:spChg chg="add mod replST">
          <ac:chgData name="Jason Madden" userId="bc5fc663-4acf-4c70-beae-e4d4354e4ea1" providerId="ADAL" clId="{9242D02F-3850-469A-9E84-08401F66F885}" dt="2022-11-23T02:50:56.652" v="12071"/>
          <ac:spMkLst>
            <pc:docMk/>
            <pc:sldMk cId="1597789525" sldId="2147471493"/>
            <ac:spMk id="58" creationId="{361B72BA-17D2-B28D-76D3-130C6028E529}"/>
          </ac:spMkLst>
        </pc:spChg>
        <pc:spChg chg="add mod replST">
          <ac:chgData name="Jason Madden" userId="bc5fc663-4acf-4c70-beae-e4d4354e4ea1" providerId="ADAL" clId="{9242D02F-3850-469A-9E84-08401F66F885}" dt="2022-11-23T02:50:56.667" v="12092"/>
          <ac:spMkLst>
            <pc:docMk/>
            <pc:sldMk cId="1597789525" sldId="2147471493"/>
            <ac:spMk id="59" creationId="{39373C88-309A-904A-D46D-F6039BFEDD5B}"/>
          </ac:spMkLst>
        </pc:spChg>
        <pc:spChg chg="add mod replST">
          <ac:chgData name="Jason Madden" userId="bc5fc663-4acf-4c70-beae-e4d4354e4ea1" providerId="ADAL" clId="{9242D02F-3850-469A-9E84-08401F66F885}" dt="2022-11-23T02:50:56.669" v="12095"/>
          <ac:spMkLst>
            <pc:docMk/>
            <pc:sldMk cId="1597789525" sldId="2147471493"/>
            <ac:spMk id="60" creationId="{635E9243-6BA7-5462-A645-0A0055C1FC9E}"/>
          </ac:spMkLst>
        </pc:spChg>
        <pc:spChg chg="add mod replST">
          <ac:chgData name="Jason Madden" userId="bc5fc663-4acf-4c70-beae-e4d4354e4ea1" providerId="ADAL" clId="{9242D02F-3850-469A-9E84-08401F66F885}" dt="2022-11-23T02:50:56.647" v="12063"/>
          <ac:spMkLst>
            <pc:docMk/>
            <pc:sldMk cId="1597789525" sldId="2147471493"/>
            <ac:spMk id="61" creationId="{35EF0B1D-867E-646C-B7C0-F625BCE7CE48}"/>
          </ac:spMkLst>
        </pc:spChg>
        <pc:spChg chg="add mod replST">
          <ac:chgData name="Jason Madden" userId="bc5fc663-4acf-4c70-beae-e4d4354e4ea1" providerId="ADAL" clId="{9242D02F-3850-469A-9E84-08401F66F885}" dt="2022-11-23T02:50:56.649" v="12066"/>
          <ac:spMkLst>
            <pc:docMk/>
            <pc:sldMk cId="1597789525" sldId="2147471493"/>
            <ac:spMk id="62" creationId="{F7EECAB2-0CCF-A8DB-7DB1-BABE7AC06363}"/>
          </ac:spMkLst>
        </pc:spChg>
        <pc:spChg chg="add mod replST">
          <ac:chgData name="Jason Madden" userId="bc5fc663-4acf-4c70-beae-e4d4354e4ea1" providerId="ADAL" clId="{9242D02F-3850-469A-9E84-08401F66F885}" dt="2022-11-23T02:50:56.655" v="12075"/>
          <ac:spMkLst>
            <pc:docMk/>
            <pc:sldMk cId="1597789525" sldId="2147471493"/>
            <ac:spMk id="63" creationId="{22C303A5-8674-53EB-1700-6DBD96D06479}"/>
          </ac:spMkLst>
        </pc:spChg>
        <pc:spChg chg="add mod replST">
          <ac:chgData name="Jason Madden" userId="bc5fc663-4acf-4c70-beae-e4d4354e4ea1" providerId="ADAL" clId="{9242D02F-3850-469A-9E84-08401F66F885}" dt="2022-11-23T02:50:56.653" v="12072"/>
          <ac:spMkLst>
            <pc:docMk/>
            <pc:sldMk cId="1597789525" sldId="2147471493"/>
            <ac:spMk id="64" creationId="{0E101E51-FEB6-D764-DE6D-9D65AE891819}"/>
          </ac:spMkLst>
        </pc:spChg>
        <pc:spChg chg="add mod replST">
          <ac:chgData name="Jason Madden" userId="bc5fc663-4acf-4c70-beae-e4d4354e4ea1" providerId="ADAL" clId="{9242D02F-3850-469A-9E84-08401F66F885}" dt="2022-11-23T02:50:56.651" v="12069"/>
          <ac:spMkLst>
            <pc:docMk/>
            <pc:sldMk cId="1597789525" sldId="2147471493"/>
            <ac:spMk id="65" creationId="{1EC690FC-20C8-EFF0-0359-A050AC3C8B4D}"/>
          </ac:spMkLst>
        </pc:spChg>
        <pc:spChg chg="add mod replST">
          <ac:chgData name="Jason Madden" userId="bc5fc663-4acf-4c70-beae-e4d4354e4ea1" providerId="ADAL" clId="{9242D02F-3850-469A-9E84-08401F66F885}" dt="2022-11-23T02:50:56.644" v="12057"/>
          <ac:spMkLst>
            <pc:docMk/>
            <pc:sldMk cId="1597789525" sldId="2147471493"/>
            <ac:spMk id="66" creationId="{3E182398-2BB7-7886-FE94-44DEEDD0CA25}"/>
          </ac:spMkLst>
        </pc:spChg>
        <pc:spChg chg="del">
          <ac:chgData name="Jason Madden" userId="bc5fc663-4acf-4c70-beae-e4d4354e4ea1" providerId="ADAL" clId="{9242D02F-3850-469A-9E84-08401F66F885}" dt="2022-11-23T02:50:46.680" v="11914"/>
          <ac:spMkLst>
            <pc:docMk/>
            <pc:sldMk cId="1597789525" sldId="2147471493"/>
            <ac:spMk id="67" creationId="{C5D3CEA3-DF9F-C4E7-E56E-04ECA592785F}"/>
          </ac:spMkLst>
        </pc:spChg>
        <pc:spChg chg="del">
          <ac:chgData name="Jason Madden" userId="bc5fc663-4acf-4c70-beae-e4d4354e4ea1" providerId="ADAL" clId="{9242D02F-3850-469A-9E84-08401F66F885}" dt="2022-11-23T02:50:46.680" v="11913"/>
          <ac:spMkLst>
            <pc:docMk/>
            <pc:sldMk cId="1597789525" sldId="2147471493"/>
            <ac:spMk id="68" creationId="{3801BFBF-2B0B-3275-4CA7-C2667D9EF4A3}"/>
          </ac:spMkLst>
        </pc:spChg>
        <pc:spChg chg="del">
          <ac:chgData name="Jason Madden" userId="bc5fc663-4acf-4c70-beae-e4d4354e4ea1" providerId="ADAL" clId="{9242D02F-3850-469A-9E84-08401F66F885}" dt="2022-11-23T02:50:46.678" v="11910"/>
          <ac:spMkLst>
            <pc:docMk/>
            <pc:sldMk cId="1597789525" sldId="2147471493"/>
            <ac:spMk id="69" creationId="{C097A9BF-EEA3-46D0-858D-66005C4F7973}"/>
          </ac:spMkLst>
        </pc:spChg>
        <pc:spChg chg="del">
          <ac:chgData name="Jason Madden" userId="bc5fc663-4acf-4c70-beae-e4d4354e4ea1" providerId="ADAL" clId="{9242D02F-3850-469A-9E84-08401F66F885}" dt="2022-11-23T02:50:46.677" v="11909"/>
          <ac:spMkLst>
            <pc:docMk/>
            <pc:sldMk cId="1597789525" sldId="2147471493"/>
            <ac:spMk id="70" creationId="{52EC787F-9D65-E016-2095-ACE717328991}"/>
          </ac:spMkLst>
        </pc:spChg>
        <pc:spChg chg="add mod replST">
          <ac:chgData name="Jason Madden" userId="bc5fc663-4acf-4c70-beae-e4d4354e4ea1" providerId="ADAL" clId="{9242D02F-3850-469A-9E84-08401F66F885}" dt="2022-11-23T02:50:56.662" v="12085"/>
          <ac:spMkLst>
            <pc:docMk/>
            <pc:sldMk cId="1597789525" sldId="2147471493"/>
            <ac:spMk id="71" creationId="{4BCD59B3-DCC2-9E13-6BFC-F5AEA2EDC667}"/>
          </ac:spMkLst>
        </pc:spChg>
        <pc:spChg chg="add mod replST">
          <ac:chgData name="Jason Madden" userId="bc5fc663-4acf-4c70-beae-e4d4354e4ea1" providerId="ADAL" clId="{9242D02F-3850-469A-9E84-08401F66F885}" dt="2022-11-23T02:50:56.659" v="12081"/>
          <ac:spMkLst>
            <pc:docMk/>
            <pc:sldMk cId="1597789525" sldId="2147471493"/>
            <ac:spMk id="72" creationId="{B204342F-48DB-2981-8959-B9CB75F16A7E}"/>
          </ac:spMkLst>
        </pc:spChg>
        <pc:spChg chg="add mod replST">
          <ac:chgData name="Jason Madden" userId="bc5fc663-4acf-4c70-beae-e4d4354e4ea1" providerId="ADAL" clId="{9242D02F-3850-469A-9E84-08401F66F885}" dt="2022-11-23T02:50:56.665" v="12089"/>
          <ac:spMkLst>
            <pc:docMk/>
            <pc:sldMk cId="1597789525" sldId="2147471493"/>
            <ac:spMk id="73" creationId="{FEA07864-A348-F7DD-1ACC-7E89D8D507D7}"/>
          </ac:spMkLst>
        </pc:spChg>
        <pc:spChg chg="add mod replST">
          <ac:chgData name="Jason Madden" userId="bc5fc663-4acf-4c70-beae-e4d4354e4ea1" providerId="ADAL" clId="{9242D02F-3850-469A-9E84-08401F66F885}" dt="2022-11-23T02:50:56.645" v="12059"/>
          <ac:spMkLst>
            <pc:docMk/>
            <pc:sldMk cId="1597789525" sldId="2147471493"/>
            <ac:spMk id="74" creationId="{41E269C9-05E6-90E0-51BD-EFF386ED547B}"/>
          </ac:spMkLst>
        </pc:spChg>
        <pc:spChg chg="add mod replST">
          <ac:chgData name="Jason Madden" userId="bc5fc663-4acf-4c70-beae-e4d4354e4ea1" providerId="ADAL" clId="{9242D02F-3850-469A-9E84-08401F66F885}" dt="2022-11-23T02:50:56.660" v="12083"/>
          <ac:spMkLst>
            <pc:docMk/>
            <pc:sldMk cId="1597789525" sldId="2147471493"/>
            <ac:spMk id="75" creationId="{644CA7D3-E798-307A-877F-A51F9CB4C478}"/>
          </ac:spMkLst>
        </pc:spChg>
        <pc:spChg chg="add mod replST">
          <ac:chgData name="Jason Madden" userId="bc5fc663-4acf-4c70-beae-e4d4354e4ea1" providerId="ADAL" clId="{9242D02F-3850-469A-9E84-08401F66F885}" dt="2022-11-23T02:50:56.663" v="12087"/>
          <ac:spMkLst>
            <pc:docMk/>
            <pc:sldMk cId="1597789525" sldId="2147471493"/>
            <ac:spMk id="76" creationId="{ED3B0FED-F8D8-5287-0A75-0E5B213974BF}"/>
          </ac:spMkLst>
        </pc:spChg>
        <pc:spChg chg="add mod replST">
          <ac:chgData name="Jason Madden" userId="bc5fc663-4acf-4c70-beae-e4d4354e4ea1" providerId="ADAL" clId="{9242D02F-3850-469A-9E84-08401F66F885}" dt="2022-11-23T02:50:56.643" v="12055"/>
          <ac:spMkLst>
            <pc:docMk/>
            <pc:sldMk cId="1597789525" sldId="2147471493"/>
            <ac:spMk id="77" creationId="{31E377FB-7373-3E67-A252-443055A2AE99}"/>
          </ac:spMkLst>
        </pc:spChg>
        <pc:spChg chg="add mod replST">
          <ac:chgData name="Jason Madden" userId="bc5fc663-4acf-4c70-beae-e4d4354e4ea1" providerId="ADAL" clId="{9242D02F-3850-469A-9E84-08401F66F885}" dt="2022-11-23T02:50:56.658" v="12079"/>
          <ac:spMkLst>
            <pc:docMk/>
            <pc:sldMk cId="1597789525" sldId="2147471493"/>
            <ac:spMk id="98" creationId="{88147177-4C77-14CB-A50E-729E75DEAE2A}"/>
          </ac:spMkLst>
        </pc:spChg>
        <pc:spChg chg="add mod replST">
          <ac:chgData name="Jason Madden" userId="bc5fc663-4acf-4c70-beae-e4d4354e4ea1" providerId="ADAL" clId="{9242D02F-3850-469A-9E84-08401F66F885}" dt="2022-11-23T02:50:56.640" v="12053"/>
          <ac:spMkLst>
            <pc:docMk/>
            <pc:sldMk cId="1597789525" sldId="2147471493"/>
            <ac:spMk id="99" creationId="{773C769D-6C09-D30C-3E16-0E2E4B3C8F2D}"/>
          </ac:spMkLst>
        </pc:spChg>
        <pc:spChg chg="add mod replST">
          <ac:chgData name="Jason Madden" userId="bc5fc663-4acf-4c70-beae-e4d4354e4ea1" providerId="ADAL" clId="{9242D02F-3850-469A-9E84-08401F66F885}" dt="2022-11-23T02:50:56.656" v="12077"/>
          <ac:spMkLst>
            <pc:docMk/>
            <pc:sldMk cId="1597789525" sldId="2147471493"/>
            <ac:spMk id="100" creationId="{C10BEBD7-5F90-CF75-ECF1-C2489C0E1E66}"/>
          </ac:spMkLst>
        </pc:spChg>
        <pc:spChg chg="add mod replST">
          <ac:chgData name="Jason Madden" userId="bc5fc663-4acf-4c70-beae-e4d4354e4ea1" providerId="ADAL" clId="{9242D02F-3850-469A-9E84-08401F66F885}" dt="2022-11-23T02:50:57.724" v="12555"/>
          <ac:spMkLst>
            <pc:docMk/>
            <pc:sldMk cId="1597789525" sldId="2147471493"/>
            <ac:spMk id="101" creationId="{4C1A4495-8E9A-251D-268D-2961A6A41150}"/>
          </ac:spMkLst>
        </pc:spChg>
        <pc:spChg chg="add mod replST">
          <ac:chgData name="Jason Madden" userId="bc5fc663-4acf-4c70-beae-e4d4354e4ea1" providerId="ADAL" clId="{9242D02F-3850-469A-9E84-08401F66F885}" dt="2022-11-23T02:50:57.769" v="12575"/>
          <ac:spMkLst>
            <pc:docMk/>
            <pc:sldMk cId="1597789525" sldId="2147471493"/>
            <ac:spMk id="102" creationId="{BB143CAC-6476-0EE0-2AD5-2987F89FEA33}"/>
          </ac:spMkLst>
        </pc:spChg>
        <pc:spChg chg="add mod replST">
          <ac:chgData name="Jason Madden" userId="bc5fc663-4acf-4c70-beae-e4d4354e4ea1" providerId="ADAL" clId="{9242D02F-3850-469A-9E84-08401F66F885}" dt="2022-11-23T02:50:57.826" v="12601"/>
          <ac:spMkLst>
            <pc:docMk/>
            <pc:sldMk cId="1597789525" sldId="2147471493"/>
            <ac:spMk id="103" creationId="{68C1C523-018B-25E2-A8DF-8774858E1F50}"/>
          </ac:spMkLst>
        </pc:spChg>
        <pc:spChg chg="add mod replST">
          <ac:chgData name="Jason Madden" userId="bc5fc663-4acf-4c70-beae-e4d4354e4ea1" providerId="ADAL" clId="{9242D02F-3850-469A-9E84-08401F66F885}" dt="2022-11-23T02:50:57.446" v="12441"/>
          <ac:spMkLst>
            <pc:docMk/>
            <pc:sldMk cId="1597789525" sldId="2147471493"/>
            <ac:spMk id="104" creationId="{A3992E38-D290-7AA0-C840-6D0E660AA471}"/>
          </ac:spMkLst>
        </pc:spChg>
        <pc:spChg chg="add mod replST">
          <ac:chgData name="Jason Madden" userId="bc5fc663-4acf-4c70-beae-e4d4354e4ea1" providerId="ADAL" clId="{9242D02F-3850-469A-9E84-08401F66F885}" dt="2022-11-23T02:50:57.819" v="12598"/>
          <ac:spMkLst>
            <pc:docMk/>
            <pc:sldMk cId="1597789525" sldId="2147471493"/>
            <ac:spMk id="105" creationId="{F8C67DC2-05AC-0E66-37FF-5B40C8723E05}"/>
          </ac:spMkLst>
        </pc:spChg>
        <pc:spChg chg="add mod replST">
          <ac:chgData name="Jason Madden" userId="bc5fc663-4acf-4c70-beae-e4d4354e4ea1" providerId="ADAL" clId="{9242D02F-3850-469A-9E84-08401F66F885}" dt="2022-11-23T02:50:57.380" v="12403"/>
          <ac:spMkLst>
            <pc:docMk/>
            <pc:sldMk cId="1597789525" sldId="2147471493"/>
            <ac:spMk id="106" creationId="{BF0A90D2-CA71-D7C9-6B8C-E79D1D11A16E}"/>
          </ac:spMkLst>
        </pc:spChg>
        <pc:spChg chg="add mod replST">
          <ac:chgData name="Jason Madden" userId="bc5fc663-4acf-4c70-beae-e4d4354e4ea1" providerId="ADAL" clId="{9242D02F-3850-469A-9E84-08401F66F885}" dt="2022-11-23T02:50:57.870" v="12621"/>
          <ac:spMkLst>
            <pc:docMk/>
            <pc:sldMk cId="1597789525" sldId="2147471493"/>
            <ac:spMk id="107" creationId="{06A47D43-EC15-D42B-A7A8-FCA5E8E59428}"/>
          </ac:spMkLst>
        </pc:spChg>
        <pc:spChg chg="del">
          <ac:chgData name="Jason Madden" userId="bc5fc663-4acf-4c70-beae-e4d4354e4ea1" providerId="ADAL" clId="{9242D02F-3850-469A-9E84-08401F66F885}" dt="2022-11-23T02:50:46.672" v="11901"/>
          <ac:spMkLst>
            <pc:docMk/>
            <pc:sldMk cId="1597789525" sldId="2147471493"/>
            <ac:spMk id="108" creationId="{34508BCF-7307-0BF0-5E97-266B5DBB6501}"/>
          </ac:spMkLst>
        </pc:spChg>
        <pc:spChg chg="add mod replST">
          <ac:chgData name="Jason Madden" userId="bc5fc663-4acf-4c70-beae-e4d4354e4ea1" providerId="ADAL" clId="{9242D02F-3850-469A-9E84-08401F66F885}" dt="2022-11-23T02:50:57.620" v="12509"/>
          <ac:spMkLst>
            <pc:docMk/>
            <pc:sldMk cId="1597789525" sldId="2147471493"/>
            <ac:spMk id="109" creationId="{1288D8EC-0D81-5917-BFDA-D5E9CA3F7B10}"/>
          </ac:spMkLst>
        </pc:spChg>
        <pc:spChg chg="add mod replST">
          <ac:chgData name="Jason Madden" userId="bc5fc663-4acf-4c70-beae-e4d4354e4ea1" providerId="ADAL" clId="{9242D02F-3850-469A-9E84-08401F66F885}" dt="2022-11-23T02:50:57.875" v="12624"/>
          <ac:spMkLst>
            <pc:docMk/>
            <pc:sldMk cId="1597789525" sldId="2147471493"/>
            <ac:spMk id="110" creationId="{A8E14664-6D5D-4F77-1AFB-7C70861D76D9}"/>
          </ac:spMkLst>
        </pc:spChg>
        <pc:spChg chg="add mod replST">
          <ac:chgData name="Jason Madden" userId="bc5fc663-4acf-4c70-beae-e4d4354e4ea1" providerId="ADAL" clId="{9242D02F-3850-469A-9E84-08401F66F885}" dt="2022-11-23T02:50:57.585" v="12487"/>
          <ac:spMkLst>
            <pc:docMk/>
            <pc:sldMk cId="1597789525" sldId="2147471493"/>
            <ac:spMk id="111" creationId="{DB2D590D-5508-59AE-9CA6-6300294E4D2E}"/>
          </ac:spMkLst>
        </pc:spChg>
        <pc:spChg chg="add mod replST">
          <ac:chgData name="Jason Madden" userId="bc5fc663-4acf-4c70-beae-e4d4354e4ea1" providerId="ADAL" clId="{9242D02F-3850-469A-9E84-08401F66F885}" dt="2022-11-23T02:50:57.788" v="12591"/>
          <ac:spMkLst>
            <pc:docMk/>
            <pc:sldMk cId="1597789525" sldId="2147471493"/>
            <ac:spMk id="112" creationId="{F8DC17B1-C9B3-17B7-C93D-A1149F3B28B9}"/>
          </ac:spMkLst>
        </pc:spChg>
        <pc:spChg chg="add mod replST">
          <ac:chgData name="Jason Madden" userId="bc5fc663-4acf-4c70-beae-e4d4354e4ea1" providerId="ADAL" clId="{9242D02F-3850-469A-9E84-08401F66F885}" dt="2022-11-23T02:50:57.565" v="12471"/>
          <ac:spMkLst>
            <pc:docMk/>
            <pc:sldMk cId="1597789525" sldId="2147471493"/>
            <ac:spMk id="113" creationId="{8566CD76-8CAB-3B67-7723-7A04C92FFC17}"/>
          </ac:spMkLst>
        </pc:spChg>
        <pc:spChg chg="del">
          <ac:chgData name="Jason Madden" userId="bc5fc663-4acf-4c70-beae-e4d4354e4ea1" providerId="ADAL" clId="{9242D02F-3850-469A-9E84-08401F66F885}" dt="2022-11-23T02:50:46.658" v="11878"/>
          <ac:spMkLst>
            <pc:docMk/>
            <pc:sldMk cId="1597789525" sldId="2147471493"/>
            <ac:spMk id="114" creationId="{CC26C003-9A0C-F716-3926-094AE14A3E78}"/>
          </ac:spMkLst>
        </pc:spChg>
        <pc:spChg chg="add mod replST">
          <ac:chgData name="Jason Madden" userId="bc5fc663-4acf-4c70-beae-e4d4354e4ea1" providerId="ADAL" clId="{9242D02F-3850-469A-9E84-08401F66F885}" dt="2022-11-23T02:50:57.673" v="12532"/>
          <ac:spMkLst>
            <pc:docMk/>
            <pc:sldMk cId="1597789525" sldId="2147471493"/>
            <ac:spMk id="115" creationId="{A961A003-893A-BA71-0BE0-46D82C0C5F7F}"/>
          </ac:spMkLst>
        </pc:spChg>
        <pc:spChg chg="del">
          <ac:chgData name="Jason Madden" userId="bc5fc663-4acf-4c70-beae-e4d4354e4ea1" providerId="ADAL" clId="{9242D02F-3850-469A-9E84-08401F66F885}" dt="2022-11-23T02:50:46.656" v="11875"/>
          <ac:spMkLst>
            <pc:docMk/>
            <pc:sldMk cId="1597789525" sldId="2147471493"/>
            <ac:spMk id="116" creationId="{03AF66E0-B322-16B1-29C3-56A42357B511}"/>
          </ac:spMkLst>
        </pc:spChg>
        <pc:spChg chg="add mod replST">
          <ac:chgData name="Jason Madden" userId="bc5fc663-4acf-4c70-beae-e4d4354e4ea1" providerId="ADAL" clId="{9242D02F-3850-469A-9E84-08401F66F885}" dt="2022-11-23T02:50:57.559" v="12468"/>
          <ac:spMkLst>
            <pc:docMk/>
            <pc:sldMk cId="1597789525" sldId="2147471493"/>
            <ac:spMk id="117" creationId="{1D281E3F-92E4-8249-B3E7-69E5CA8539C5}"/>
          </ac:spMkLst>
        </pc:spChg>
        <pc:spChg chg="del">
          <ac:chgData name="Jason Madden" userId="bc5fc663-4acf-4c70-beae-e4d4354e4ea1" providerId="ADAL" clId="{9242D02F-3850-469A-9E84-08401F66F885}" dt="2022-11-23T02:50:46.654" v="11872"/>
          <ac:spMkLst>
            <pc:docMk/>
            <pc:sldMk cId="1597789525" sldId="2147471493"/>
            <ac:spMk id="118" creationId="{1CB3FCA5-BBF0-DCF6-D826-46DB1EBB47E8}"/>
          </ac:spMkLst>
        </pc:spChg>
        <pc:spChg chg="add mod replST">
          <ac:chgData name="Jason Madden" userId="bc5fc663-4acf-4c70-beae-e4d4354e4ea1" providerId="ADAL" clId="{9242D02F-3850-469A-9E84-08401F66F885}" dt="2022-11-23T02:50:57.692" v="12548"/>
          <ac:spMkLst>
            <pc:docMk/>
            <pc:sldMk cId="1597789525" sldId="2147471493"/>
            <ac:spMk id="119" creationId="{BA4447ED-0DD1-78A8-89FF-C260956B7858}"/>
          </ac:spMkLst>
        </pc:spChg>
        <pc:spChg chg="del">
          <ac:chgData name="Jason Madden" userId="bc5fc663-4acf-4c70-beae-e4d4354e4ea1" providerId="ADAL" clId="{9242D02F-3850-469A-9E84-08401F66F885}" dt="2022-11-23T02:50:46.652" v="11869"/>
          <ac:spMkLst>
            <pc:docMk/>
            <pc:sldMk cId="1597789525" sldId="2147471493"/>
            <ac:spMk id="120" creationId="{684BFA12-C3D8-DABB-C23E-72B4DCA6B909}"/>
          </ac:spMkLst>
        </pc:spChg>
        <pc:spChg chg="add mod replST">
          <ac:chgData name="Jason Madden" userId="bc5fc663-4acf-4c70-beae-e4d4354e4ea1" providerId="ADAL" clId="{9242D02F-3850-469A-9E84-08401F66F885}" dt="2022-11-23T02:50:57.626" v="12512"/>
          <ac:spMkLst>
            <pc:docMk/>
            <pc:sldMk cId="1597789525" sldId="2147471493"/>
            <ac:spMk id="121" creationId="{75AAD0D4-A993-7A11-DA88-E27BDB1B0B00}"/>
          </ac:spMkLst>
        </pc:spChg>
        <pc:spChg chg="del">
          <ac:chgData name="Jason Madden" userId="bc5fc663-4acf-4c70-beae-e4d4354e4ea1" providerId="ADAL" clId="{9242D02F-3850-469A-9E84-08401F66F885}" dt="2022-11-23T02:50:46.650" v="11866"/>
          <ac:spMkLst>
            <pc:docMk/>
            <pc:sldMk cId="1597789525" sldId="2147471493"/>
            <ac:spMk id="122" creationId="{95583243-61EB-FF1A-EA69-553BC0A5C272}"/>
          </ac:spMkLst>
        </pc:spChg>
        <pc:spChg chg="add mod replST">
          <ac:chgData name="Jason Madden" userId="bc5fc663-4acf-4c70-beae-e4d4354e4ea1" providerId="ADAL" clId="{9242D02F-3850-469A-9E84-08401F66F885}" dt="2022-11-23T02:50:57.613" v="12506"/>
          <ac:spMkLst>
            <pc:docMk/>
            <pc:sldMk cId="1597789525" sldId="2147471493"/>
            <ac:spMk id="123" creationId="{E85AE7BA-B072-7973-AB7A-03E802EF7E94}"/>
          </ac:spMkLst>
        </pc:spChg>
        <pc:spChg chg="del">
          <ac:chgData name="Jason Madden" userId="bc5fc663-4acf-4c70-beae-e4d4354e4ea1" providerId="ADAL" clId="{9242D02F-3850-469A-9E84-08401F66F885}" dt="2022-11-23T02:50:46.647" v="11863"/>
          <ac:spMkLst>
            <pc:docMk/>
            <pc:sldMk cId="1597789525" sldId="2147471493"/>
            <ac:spMk id="124" creationId="{A2E897DA-2D9D-D8E2-86C1-600BF0B52494}"/>
          </ac:spMkLst>
        </pc:spChg>
        <pc:spChg chg="add mod replST">
          <ac:chgData name="Jason Madden" userId="bc5fc663-4acf-4c70-beae-e4d4354e4ea1" providerId="ADAL" clId="{9242D02F-3850-469A-9E84-08401F66F885}" dt="2022-11-23T02:50:57.527" v="12461"/>
          <ac:spMkLst>
            <pc:docMk/>
            <pc:sldMk cId="1597789525" sldId="2147471493"/>
            <ac:spMk id="125" creationId="{8F1B57DD-ABD9-7532-B55D-59D072A72B98}"/>
          </ac:spMkLst>
        </pc:spChg>
        <pc:spChg chg="del">
          <ac:chgData name="Jason Madden" userId="bc5fc663-4acf-4c70-beae-e4d4354e4ea1" providerId="ADAL" clId="{9242D02F-3850-469A-9E84-08401F66F885}" dt="2022-11-23T02:50:46.644" v="11860"/>
          <ac:spMkLst>
            <pc:docMk/>
            <pc:sldMk cId="1597789525" sldId="2147471493"/>
            <ac:spMk id="126" creationId="{F063BE04-5895-AB46-B7C9-2D453E4ABAEE}"/>
          </ac:spMkLst>
        </pc:spChg>
        <pc:spChg chg="add mod replST">
          <ac:chgData name="Jason Madden" userId="bc5fc663-4acf-4c70-beae-e4d4354e4ea1" providerId="ADAL" clId="{9242D02F-3850-469A-9E84-08401F66F885}" dt="2022-11-23T02:50:57.607" v="12503"/>
          <ac:spMkLst>
            <pc:docMk/>
            <pc:sldMk cId="1597789525" sldId="2147471493"/>
            <ac:spMk id="127" creationId="{397C5FDF-AAFB-5161-C771-F1FE08ED320E}"/>
          </ac:spMkLst>
        </pc:spChg>
        <pc:spChg chg="add del mod modVis">
          <ac:chgData name="Jason Madden" userId="bc5fc663-4acf-4c70-beae-e4d4354e4ea1" providerId="ADAL" clId="{9242D02F-3850-469A-9E84-08401F66F885}" dt="2022-11-23T02:50:57.949" v="12651"/>
          <ac:spMkLst>
            <pc:docMk/>
            <pc:sldMk cId="1597789525" sldId="2147471493"/>
            <ac:spMk id="128" creationId="{E6456E36-C971-1623-2AA5-2DFED4E5E44C}"/>
          </ac:spMkLst>
        </pc:spChg>
        <pc:spChg chg="add mod">
          <ac:chgData name="Jason Madden" userId="bc5fc663-4acf-4c70-beae-e4d4354e4ea1" providerId="ADAL" clId="{9242D02F-3850-469A-9E84-08401F66F885}" dt="2022-11-23T02:51:10.327" v="12654"/>
          <ac:spMkLst>
            <pc:docMk/>
            <pc:sldMk cId="1597789525" sldId="2147471493"/>
            <ac:spMk id="129" creationId="{C66FD130-23DD-D99E-2A2C-87F3084A9989}"/>
          </ac:spMkLst>
        </pc:spChg>
        <pc:spChg chg="del">
          <ac:chgData name="Jason Madden" userId="bc5fc663-4acf-4c70-beae-e4d4354e4ea1" providerId="ADAL" clId="{9242D02F-3850-469A-9E84-08401F66F885}" dt="2022-11-23T02:50:46.641" v="11857"/>
          <ac:spMkLst>
            <pc:docMk/>
            <pc:sldMk cId="1597789525" sldId="2147471493"/>
            <ac:spMk id="130" creationId="{F808AC65-86A5-DD79-1A76-6D62CAB28D4A}"/>
          </ac:spMkLst>
        </pc:spChg>
        <pc:spChg chg="del">
          <ac:chgData name="Jason Madden" userId="bc5fc663-4acf-4c70-beae-e4d4354e4ea1" providerId="ADAL" clId="{9242D02F-3850-469A-9E84-08401F66F885}" dt="2022-11-23T02:50:46.679" v="11912"/>
          <ac:spMkLst>
            <pc:docMk/>
            <pc:sldMk cId="1597789525" sldId="2147471493"/>
            <ac:spMk id="133" creationId="{381FCF96-469A-5073-9A4F-78FDC7CAB764}"/>
          </ac:spMkLst>
        </pc:spChg>
        <pc:spChg chg="del">
          <ac:chgData name="Jason Madden" userId="bc5fc663-4acf-4c70-beae-e4d4354e4ea1" providerId="ADAL" clId="{9242D02F-3850-469A-9E84-08401F66F885}" dt="2022-11-23T02:50:46.678" v="11911"/>
          <ac:spMkLst>
            <pc:docMk/>
            <pc:sldMk cId="1597789525" sldId="2147471493"/>
            <ac:spMk id="135" creationId="{81AED4C0-CCDC-A722-8466-19C4F30A20E8}"/>
          </ac:spMkLst>
        </pc:spChg>
        <pc:spChg chg="del">
          <ac:chgData name="Jason Madden" userId="bc5fc663-4acf-4c70-beae-e4d4354e4ea1" providerId="ADAL" clId="{9242D02F-3850-469A-9E84-08401F66F885}" dt="2022-11-23T02:50:46.673" v="11903"/>
          <ac:spMkLst>
            <pc:docMk/>
            <pc:sldMk cId="1597789525" sldId="2147471493"/>
            <ac:spMk id="170" creationId="{8262A24E-3A44-D179-1E5C-DFA672B41343}"/>
          </ac:spMkLst>
        </pc:spChg>
        <pc:spChg chg="del">
          <ac:chgData name="Jason Madden" userId="bc5fc663-4acf-4c70-beae-e4d4354e4ea1" providerId="ADAL" clId="{9242D02F-3850-469A-9E84-08401F66F885}" dt="2022-11-23T02:50:46.675" v="11906"/>
          <ac:spMkLst>
            <pc:docMk/>
            <pc:sldMk cId="1597789525" sldId="2147471493"/>
            <ac:spMk id="171" creationId="{A2924B6C-319C-A0E1-B40A-C8E227991B04}"/>
          </ac:spMkLst>
        </pc:spChg>
        <pc:spChg chg="del">
          <ac:chgData name="Jason Madden" userId="bc5fc663-4acf-4c70-beae-e4d4354e4ea1" providerId="ADAL" clId="{9242D02F-3850-469A-9E84-08401F66F885}" dt="2022-11-23T02:50:46.667" v="11893"/>
          <ac:spMkLst>
            <pc:docMk/>
            <pc:sldMk cId="1597789525" sldId="2147471493"/>
            <ac:spMk id="177" creationId="{0CF021A4-A58F-40E0-6198-84E57EE0F7FF}"/>
          </ac:spMkLst>
        </pc:spChg>
        <pc:spChg chg="del">
          <ac:chgData name="Jason Madden" userId="bc5fc663-4acf-4c70-beae-e4d4354e4ea1" providerId="ADAL" clId="{9242D02F-3850-469A-9E84-08401F66F885}" dt="2022-11-23T02:50:46.671" v="11900"/>
          <ac:spMkLst>
            <pc:docMk/>
            <pc:sldMk cId="1597789525" sldId="2147471493"/>
            <ac:spMk id="185" creationId="{104B3CB2-256D-2B85-3794-A6FEC20AD00D}"/>
          </ac:spMkLst>
        </pc:spChg>
        <pc:spChg chg="del">
          <ac:chgData name="Jason Madden" userId="bc5fc663-4acf-4c70-beae-e4d4354e4ea1" providerId="ADAL" clId="{9242D02F-3850-469A-9E84-08401F66F885}" dt="2022-11-23T02:50:46.670" v="11897"/>
          <ac:spMkLst>
            <pc:docMk/>
            <pc:sldMk cId="1597789525" sldId="2147471493"/>
            <ac:spMk id="186" creationId="{F1EDA58B-54E3-0496-FCA8-F503FC07CC86}"/>
          </ac:spMkLst>
        </pc:spChg>
        <pc:spChg chg="del">
          <ac:chgData name="Jason Madden" userId="bc5fc663-4acf-4c70-beae-e4d4354e4ea1" providerId="ADAL" clId="{9242D02F-3850-469A-9E84-08401F66F885}" dt="2022-11-23T02:50:46.665" v="11890"/>
          <ac:spMkLst>
            <pc:docMk/>
            <pc:sldMk cId="1597789525" sldId="2147471493"/>
            <ac:spMk id="187" creationId="{888E7D61-84AF-D502-BC7F-0D20CB06DA5B}"/>
          </ac:spMkLst>
        </pc:spChg>
        <pc:spChg chg="del">
          <ac:chgData name="Jason Madden" userId="bc5fc663-4acf-4c70-beae-e4d4354e4ea1" providerId="ADAL" clId="{9242D02F-3850-469A-9E84-08401F66F885}" dt="2022-11-23T02:50:46.662" v="11885"/>
          <ac:spMkLst>
            <pc:docMk/>
            <pc:sldMk cId="1597789525" sldId="2147471493"/>
            <ac:spMk id="188" creationId="{3CD8B408-58FA-1002-9576-5DEA78FBAC64}"/>
          </ac:spMkLst>
        </pc:spChg>
        <pc:spChg chg="del">
          <ac:chgData name="Jason Madden" userId="bc5fc663-4acf-4c70-beae-e4d4354e4ea1" providerId="ADAL" clId="{9242D02F-3850-469A-9E84-08401F66F885}" dt="2022-11-23T02:50:46.659" v="11880"/>
          <ac:spMkLst>
            <pc:docMk/>
            <pc:sldMk cId="1597789525" sldId="2147471493"/>
            <ac:spMk id="189" creationId="{FE786B81-C07E-E3F4-A735-D310F420AAF7}"/>
          </ac:spMkLst>
        </pc:spChg>
        <pc:spChg chg="del">
          <ac:chgData name="Jason Madden" userId="bc5fc663-4acf-4c70-beae-e4d4354e4ea1" providerId="ADAL" clId="{9242D02F-3850-469A-9E84-08401F66F885}" dt="2022-11-23T02:50:46.657" v="11877"/>
          <ac:spMkLst>
            <pc:docMk/>
            <pc:sldMk cId="1597789525" sldId="2147471493"/>
            <ac:spMk id="191" creationId="{5D155A89-D4AB-9747-0683-E246DBB7E365}"/>
          </ac:spMkLst>
        </pc:spChg>
        <pc:spChg chg="del">
          <ac:chgData name="Jason Madden" userId="bc5fc663-4acf-4c70-beae-e4d4354e4ea1" providerId="ADAL" clId="{9242D02F-3850-469A-9E84-08401F66F885}" dt="2022-11-23T02:50:46.655" v="11874"/>
          <ac:spMkLst>
            <pc:docMk/>
            <pc:sldMk cId="1597789525" sldId="2147471493"/>
            <ac:spMk id="192" creationId="{CE4ACA71-A204-9347-3A48-6FB68BBDCD7F}"/>
          </ac:spMkLst>
        </pc:spChg>
        <pc:spChg chg="del">
          <ac:chgData name="Jason Madden" userId="bc5fc663-4acf-4c70-beae-e4d4354e4ea1" providerId="ADAL" clId="{9242D02F-3850-469A-9E84-08401F66F885}" dt="2022-11-23T02:50:46.653" v="11871"/>
          <ac:spMkLst>
            <pc:docMk/>
            <pc:sldMk cId="1597789525" sldId="2147471493"/>
            <ac:spMk id="193" creationId="{8AE35D14-5160-F2EB-790F-4E377343ED73}"/>
          </ac:spMkLst>
        </pc:spChg>
        <pc:spChg chg="del">
          <ac:chgData name="Jason Madden" userId="bc5fc663-4acf-4c70-beae-e4d4354e4ea1" providerId="ADAL" clId="{9242D02F-3850-469A-9E84-08401F66F885}" dt="2022-11-23T02:50:46.651" v="11868"/>
          <ac:spMkLst>
            <pc:docMk/>
            <pc:sldMk cId="1597789525" sldId="2147471493"/>
            <ac:spMk id="194" creationId="{8D08C2C2-8D0A-004F-233B-0D8C470C83C9}"/>
          </ac:spMkLst>
        </pc:spChg>
        <pc:spChg chg="del">
          <ac:chgData name="Jason Madden" userId="bc5fc663-4acf-4c70-beae-e4d4354e4ea1" providerId="ADAL" clId="{9242D02F-3850-469A-9E84-08401F66F885}" dt="2022-11-23T02:50:46.649" v="11865"/>
          <ac:spMkLst>
            <pc:docMk/>
            <pc:sldMk cId="1597789525" sldId="2147471493"/>
            <ac:spMk id="195" creationId="{64F0A488-0285-FC6A-E5B2-3961493A8D0B}"/>
          </ac:spMkLst>
        </pc:spChg>
        <pc:spChg chg="del">
          <ac:chgData name="Jason Madden" userId="bc5fc663-4acf-4c70-beae-e4d4354e4ea1" providerId="ADAL" clId="{9242D02F-3850-469A-9E84-08401F66F885}" dt="2022-11-23T02:50:46.646" v="11862"/>
          <ac:spMkLst>
            <pc:docMk/>
            <pc:sldMk cId="1597789525" sldId="2147471493"/>
            <ac:spMk id="196" creationId="{F974FC9A-5650-BE4B-E253-BE1422EC9EE2}"/>
          </ac:spMkLst>
        </pc:spChg>
        <pc:spChg chg="del">
          <ac:chgData name="Jason Madden" userId="bc5fc663-4acf-4c70-beae-e4d4354e4ea1" providerId="ADAL" clId="{9242D02F-3850-469A-9E84-08401F66F885}" dt="2022-11-23T02:50:46.643" v="11859"/>
          <ac:spMkLst>
            <pc:docMk/>
            <pc:sldMk cId="1597789525" sldId="2147471493"/>
            <ac:spMk id="197" creationId="{3AE968A0-4F28-EBF3-B1E8-D016340499B3}"/>
          </ac:spMkLst>
        </pc:spChg>
        <pc:spChg chg="del">
          <ac:chgData name="Jason Madden" userId="bc5fc663-4acf-4c70-beae-e4d4354e4ea1" providerId="ADAL" clId="{9242D02F-3850-469A-9E84-08401F66F885}" dt="2022-11-23T02:50:46.638" v="11854"/>
          <ac:spMkLst>
            <pc:docMk/>
            <pc:sldMk cId="1597789525" sldId="2147471493"/>
            <ac:spMk id="199" creationId="{16168CBC-273C-327A-F16C-13A03B8C84FC}"/>
          </ac:spMkLst>
        </pc:spChg>
        <pc:spChg chg="del">
          <ac:chgData name="Jason Madden" userId="bc5fc663-4acf-4c70-beae-e4d4354e4ea1" providerId="ADAL" clId="{9242D02F-3850-469A-9E84-08401F66F885}" dt="2022-11-23T02:50:46.681" v="11915"/>
          <ac:spMkLst>
            <pc:docMk/>
            <pc:sldMk cId="1597789525" sldId="2147471493"/>
            <ac:spMk id="206" creationId="{9E7A4465-4393-317E-BF06-A4C8143938AA}"/>
          </ac:spMkLst>
        </pc:spChg>
        <pc:spChg chg="del">
          <ac:chgData name="Jason Madden" userId="bc5fc663-4acf-4c70-beae-e4d4354e4ea1" providerId="ADAL" clId="{9242D02F-3850-469A-9E84-08401F66F885}" dt="2022-11-23T02:50:46.668" v="11895"/>
          <ac:spMkLst>
            <pc:docMk/>
            <pc:sldMk cId="1597789525" sldId="2147471493"/>
            <ac:spMk id="233" creationId="{8E89ACEC-311F-FB8A-E608-E8F80D20CD76}"/>
          </ac:spMkLst>
        </pc:spChg>
        <pc:spChg chg="del">
          <ac:chgData name="Jason Madden" userId="bc5fc663-4acf-4c70-beae-e4d4354e4ea1" providerId="ADAL" clId="{9242D02F-3850-469A-9E84-08401F66F885}" dt="2022-11-23T02:50:46.667" v="11892"/>
          <ac:spMkLst>
            <pc:docMk/>
            <pc:sldMk cId="1597789525" sldId="2147471493"/>
            <ac:spMk id="238" creationId="{1536BFFD-0216-8691-D54F-B37AD664A9DB}"/>
          </ac:spMkLst>
        </pc:spChg>
        <pc:spChg chg="del">
          <ac:chgData name="Jason Madden" userId="bc5fc663-4acf-4c70-beae-e4d4354e4ea1" providerId="ADAL" clId="{9242D02F-3850-469A-9E84-08401F66F885}" dt="2022-11-23T02:50:46.663" v="11887"/>
          <ac:spMkLst>
            <pc:docMk/>
            <pc:sldMk cId="1597789525" sldId="2147471493"/>
            <ac:spMk id="239" creationId="{9636255B-270C-9170-ED4A-DA989546C475}"/>
          </ac:spMkLst>
        </pc:spChg>
        <pc:spChg chg="del">
          <ac:chgData name="Jason Madden" userId="bc5fc663-4acf-4c70-beae-e4d4354e4ea1" providerId="ADAL" clId="{9242D02F-3850-469A-9E84-08401F66F885}" dt="2022-11-23T02:50:46.660" v="11882"/>
          <ac:spMkLst>
            <pc:docMk/>
            <pc:sldMk cId="1597789525" sldId="2147471493"/>
            <ac:spMk id="241" creationId="{B82A487D-4F57-8A92-DA19-3E4D456B4F14}"/>
          </ac:spMkLst>
        </pc:spChg>
        <pc:spChg chg="del">
          <ac:chgData name="Jason Madden" userId="bc5fc663-4acf-4c70-beae-e4d4354e4ea1" providerId="ADAL" clId="{9242D02F-3850-469A-9E84-08401F66F885}" dt="2022-11-23T02:50:46.637" v="11852"/>
          <ac:spMkLst>
            <pc:docMk/>
            <pc:sldMk cId="1597789525" sldId="2147471493"/>
            <ac:spMk id="243" creationId="{80AA091B-89E3-0AC1-F258-B1287470535B}"/>
          </ac:spMkLst>
        </pc:spChg>
        <pc:spChg chg="del">
          <ac:chgData name="Jason Madden" userId="bc5fc663-4acf-4c70-beae-e4d4354e4ea1" providerId="ADAL" clId="{9242D02F-3850-469A-9E84-08401F66F885}" dt="2022-11-23T02:50:46.630" v="11849"/>
          <ac:spMkLst>
            <pc:docMk/>
            <pc:sldMk cId="1597789525" sldId="2147471493"/>
            <ac:spMk id="245" creationId="{FB44CEBE-3E02-EE1D-4A66-2F9E77A71DCC}"/>
          </ac:spMkLst>
        </pc:spChg>
        <pc:graphicFrameChg chg="mod">
          <ac:chgData name="Jason Madden" userId="bc5fc663-4acf-4c70-beae-e4d4354e4ea1" providerId="ADAL" clId="{9242D02F-3850-469A-9E84-08401F66F885}" dt="2022-11-23T02:50:57.957" v="12653"/>
          <ac:graphicFrameMkLst>
            <pc:docMk/>
            <pc:sldMk cId="1597789525" sldId="2147471493"/>
            <ac:graphicFrameMk id="5" creationId="{28422D06-2229-6E64-B273-7B2A487F59F1}"/>
          </ac:graphicFrameMkLst>
        </pc:graphicFrameChg>
        <pc:cxnChg chg="add mod replST">
          <ac:chgData name="Jason Madden" userId="bc5fc663-4acf-4c70-beae-e4d4354e4ea1" providerId="ADAL" clId="{9242D02F-3850-469A-9E84-08401F66F885}" dt="2022-11-23T02:50:56.671" v="12099"/>
          <ac:cxnSpMkLst>
            <pc:docMk/>
            <pc:sldMk cId="1597789525" sldId="2147471493"/>
            <ac:cxnSpMk id="16" creationId="{C7DAE4CF-A85C-B460-8D44-4FCE02AC999F}"/>
          </ac:cxnSpMkLst>
        </pc:cxnChg>
        <pc:cxnChg chg="add mod replST">
          <ac:chgData name="Jason Madden" userId="bc5fc663-4acf-4c70-beae-e4d4354e4ea1" providerId="ADAL" clId="{9242D02F-3850-469A-9E84-08401F66F885}" dt="2022-11-23T02:50:56.671" v="12098"/>
          <ac:cxnSpMkLst>
            <pc:docMk/>
            <pc:sldMk cId="1597789525" sldId="2147471493"/>
            <ac:cxnSpMk id="19" creationId="{D9351C7A-191F-3745-D88B-05050DE6ED2B}"/>
          </ac:cxnSpMkLst>
        </pc:cxnChg>
        <pc:cxnChg chg="add mod replST">
          <ac:chgData name="Jason Madden" userId="bc5fc663-4acf-4c70-beae-e4d4354e4ea1" providerId="ADAL" clId="{9242D02F-3850-469A-9E84-08401F66F885}" dt="2022-11-23T02:50:56.685" v="12125"/>
          <ac:cxnSpMkLst>
            <pc:docMk/>
            <pc:sldMk cId="1597789525" sldId="2147471493"/>
            <ac:cxnSpMk id="23" creationId="{2A0DFF4A-E51B-57B3-40C8-05B535FC90A5}"/>
          </ac:cxnSpMkLst>
        </pc:cxnChg>
        <pc:cxnChg chg="add mod replST">
          <ac:chgData name="Jason Madden" userId="bc5fc663-4acf-4c70-beae-e4d4354e4ea1" providerId="ADAL" clId="{9242D02F-3850-469A-9E84-08401F66F885}" dt="2022-11-23T02:50:56.686" v="12127"/>
          <ac:cxnSpMkLst>
            <pc:docMk/>
            <pc:sldMk cId="1597789525" sldId="2147471493"/>
            <ac:cxnSpMk id="24" creationId="{91369027-524A-3C41-D50F-F080AA554704}"/>
          </ac:cxnSpMkLst>
        </pc:cxnChg>
        <pc:cxnChg chg="add mod replST">
          <ac:chgData name="Jason Madden" userId="bc5fc663-4acf-4c70-beae-e4d4354e4ea1" providerId="ADAL" clId="{9242D02F-3850-469A-9E84-08401F66F885}" dt="2022-11-23T02:50:56.684" v="12123"/>
          <ac:cxnSpMkLst>
            <pc:docMk/>
            <pc:sldMk cId="1597789525" sldId="2147471493"/>
            <ac:cxnSpMk id="25" creationId="{41696EDB-DD7E-08B2-5074-8F7BEFD08D55}"/>
          </ac:cxnSpMkLst>
        </pc:cxnChg>
        <pc:cxnChg chg="add mod replST">
          <ac:chgData name="Jason Madden" userId="bc5fc663-4acf-4c70-beae-e4d4354e4ea1" providerId="ADAL" clId="{9242D02F-3850-469A-9E84-08401F66F885}" dt="2022-11-23T02:50:56.672" v="12100"/>
          <ac:cxnSpMkLst>
            <pc:docMk/>
            <pc:sldMk cId="1597789525" sldId="2147471493"/>
            <ac:cxnSpMk id="26" creationId="{37335769-0B7B-F9AB-048D-355B738405B4}"/>
          </ac:cxnSpMkLst>
        </pc:cxnChg>
        <pc:cxnChg chg="add mod replST">
          <ac:chgData name="Jason Madden" userId="bc5fc663-4acf-4c70-beae-e4d4354e4ea1" providerId="ADAL" clId="{9242D02F-3850-469A-9E84-08401F66F885}" dt="2022-11-23T02:50:56.672" v="12101"/>
          <ac:cxnSpMkLst>
            <pc:docMk/>
            <pc:sldMk cId="1597789525" sldId="2147471493"/>
            <ac:cxnSpMk id="27" creationId="{0EBF9681-F4EA-929F-84F6-9E8A77BC9E3F}"/>
          </ac:cxnSpMkLst>
        </pc:cxnChg>
        <pc:cxnChg chg="add mod replST">
          <ac:chgData name="Jason Madden" userId="bc5fc663-4acf-4c70-beae-e4d4354e4ea1" providerId="ADAL" clId="{9242D02F-3850-469A-9E84-08401F66F885}" dt="2022-11-23T02:50:56.684" v="12122"/>
          <ac:cxnSpMkLst>
            <pc:docMk/>
            <pc:sldMk cId="1597789525" sldId="2147471493"/>
            <ac:cxnSpMk id="28" creationId="{DA88757D-8D89-117C-A424-596CBEF7144F}"/>
          </ac:cxnSpMkLst>
        </pc:cxnChg>
        <pc:cxnChg chg="add mod replST">
          <ac:chgData name="Jason Madden" userId="bc5fc663-4acf-4c70-beae-e4d4354e4ea1" providerId="ADAL" clId="{9242D02F-3850-469A-9E84-08401F66F885}" dt="2022-11-23T02:50:56.683" v="12121"/>
          <ac:cxnSpMkLst>
            <pc:docMk/>
            <pc:sldMk cId="1597789525" sldId="2147471493"/>
            <ac:cxnSpMk id="29" creationId="{728E0C21-B1FC-B191-6D63-C776E2CE9B26}"/>
          </ac:cxnSpMkLst>
        </pc:cxnChg>
        <pc:cxnChg chg="add mod replST">
          <ac:chgData name="Jason Madden" userId="bc5fc663-4acf-4c70-beae-e4d4354e4ea1" providerId="ADAL" clId="{9242D02F-3850-469A-9E84-08401F66F885}" dt="2022-11-23T02:50:56.683" v="12120"/>
          <ac:cxnSpMkLst>
            <pc:docMk/>
            <pc:sldMk cId="1597789525" sldId="2147471493"/>
            <ac:cxnSpMk id="30" creationId="{666BAE45-7401-D765-D187-FF30B492C6CC}"/>
          </ac:cxnSpMkLst>
        </pc:cxnChg>
        <pc:cxnChg chg="add mod replST">
          <ac:chgData name="Jason Madden" userId="bc5fc663-4acf-4c70-beae-e4d4354e4ea1" providerId="ADAL" clId="{9242D02F-3850-469A-9E84-08401F66F885}" dt="2022-11-23T02:50:56.682" v="12119"/>
          <ac:cxnSpMkLst>
            <pc:docMk/>
            <pc:sldMk cId="1597789525" sldId="2147471493"/>
            <ac:cxnSpMk id="31" creationId="{AC4CE775-08B0-32DC-290D-C2D6B5391593}"/>
          </ac:cxnSpMkLst>
        </pc:cxnChg>
        <pc:cxnChg chg="add mod replST">
          <ac:chgData name="Jason Madden" userId="bc5fc663-4acf-4c70-beae-e4d4354e4ea1" providerId="ADAL" clId="{9242D02F-3850-469A-9E84-08401F66F885}" dt="2022-11-23T02:50:56.675" v="12105"/>
          <ac:cxnSpMkLst>
            <pc:docMk/>
            <pc:sldMk cId="1597789525" sldId="2147471493"/>
            <ac:cxnSpMk id="32" creationId="{D1946B3E-90A2-FDE3-6B21-03883B7E9228}"/>
          </ac:cxnSpMkLst>
        </pc:cxnChg>
        <pc:cxnChg chg="add mod replST">
          <ac:chgData name="Jason Madden" userId="bc5fc663-4acf-4c70-beae-e4d4354e4ea1" providerId="ADAL" clId="{9242D02F-3850-469A-9E84-08401F66F885}" dt="2022-11-23T02:50:56.682" v="12118"/>
          <ac:cxnSpMkLst>
            <pc:docMk/>
            <pc:sldMk cId="1597789525" sldId="2147471493"/>
            <ac:cxnSpMk id="33" creationId="{54752A67-5CD1-0A40-6371-9AD9059D7B8A}"/>
          </ac:cxnSpMkLst>
        </pc:cxnChg>
        <pc:cxnChg chg="add mod replST">
          <ac:chgData name="Jason Madden" userId="bc5fc663-4acf-4c70-beae-e4d4354e4ea1" providerId="ADAL" clId="{9242D02F-3850-469A-9E84-08401F66F885}" dt="2022-11-23T02:50:56.681" v="12117"/>
          <ac:cxnSpMkLst>
            <pc:docMk/>
            <pc:sldMk cId="1597789525" sldId="2147471493"/>
            <ac:cxnSpMk id="34" creationId="{83074736-6ACF-33AF-02B9-8202504FB3B6}"/>
          </ac:cxnSpMkLst>
        </pc:cxnChg>
        <pc:cxnChg chg="add mod replST">
          <ac:chgData name="Jason Madden" userId="bc5fc663-4acf-4c70-beae-e4d4354e4ea1" providerId="ADAL" clId="{9242D02F-3850-469A-9E84-08401F66F885}" dt="2022-11-23T02:50:56.674" v="12104"/>
          <ac:cxnSpMkLst>
            <pc:docMk/>
            <pc:sldMk cId="1597789525" sldId="2147471493"/>
            <ac:cxnSpMk id="35" creationId="{D67B23E7-E337-8EC7-FFF1-38851D75B32A}"/>
          </ac:cxnSpMkLst>
        </pc:cxnChg>
        <pc:cxnChg chg="add mod replST">
          <ac:chgData name="Jason Madden" userId="bc5fc663-4acf-4c70-beae-e4d4354e4ea1" providerId="ADAL" clId="{9242D02F-3850-469A-9E84-08401F66F885}" dt="2022-11-23T02:50:56.680" v="12115"/>
          <ac:cxnSpMkLst>
            <pc:docMk/>
            <pc:sldMk cId="1597789525" sldId="2147471493"/>
            <ac:cxnSpMk id="36" creationId="{82E0EAA0-0A07-C9D0-517B-0B714B44B45E}"/>
          </ac:cxnSpMkLst>
        </pc:cxnChg>
        <pc:cxnChg chg="add mod replST">
          <ac:chgData name="Jason Madden" userId="bc5fc663-4acf-4c70-beae-e4d4354e4ea1" providerId="ADAL" clId="{9242D02F-3850-469A-9E84-08401F66F885}" dt="2022-11-23T02:50:56.678" v="12112"/>
          <ac:cxnSpMkLst>
            <pc:docMk/>
            <pc:sldMk cId="1597789525" sldId="2147471493"/>
            <ac:cxnSpMk id="37" creationId="{D24D7A99-A5CB-6408-D338-6F7AEE73DF27}"/>
          </ac:cxnSpMkLst>
        </pc:cxnChg>
        <pc:cxnChg chg="add mod replST">
          <ac:chgData name="Jason Madden" userId="bc5fc663-4acf-4c70-beae-e4d4354e4ea1" providerId="ADAL" clId="{9242D02F-3850-469A-9E84-08401F66F885}" dt="2022-11-23T02:50:56.678" v="12111"/>
          <ac:cxnSpMkLst>
            <pc:docMk/>
            <pc:sldMk cId="1597789525" sldId="2147471493"/>
            <ac:cxnSpMk id="38" creationId="{B5D41383-0B1F-2CCD-1C45-3A57BA711B69}"/>
          </ac:cxnSpMkLst>
        </pc:cxnChg>
        <pc:cxnChg chg="add mod replST">
          <ac:chgData name="Jason Madden" userId="bc5fc663-4acf-4c70-beae-e4d4354e4ea1" providerId="ADAL" clId="{9242D02F-3850-469A-9E84-08401F66F885}" dt="2022-11-23T02:50:56.676" v="12107"/>
          <ac:cxnSpMkLst>
            <pc:docMk/>
            <pc:sldMk cId="1597789525" sldId="2147471493"/>
            <ac:cxnSpMk id="39" creationId="{4D6AD418-890D-52A3-A310-B0144D543656}"/>
          </ac:cxnSpMkLst>
        </pc:cxnChg>
        <pc:cxnChg chg="add mod replST">
          <ac:chgData name="Jason Madden" userId="bc5fc663-4acf-4c70-beae-e4d4354e4ea1" providerId="ADAL" clId="{9242D02F-3850-469A-9E84-08401F66F885}" dt="2022-11-23T02:50:56.677" v="12109"/>
          <ac:cxnSpMkLst>
            <pc:docMk/>
            <pc:sldMk cId="1597789525" sldId="2147471493"/>
            <ac:cxnSpMk id="40" creationId="{50D76FFF-47A8-8A17-5ED8-0B7E17BA3A13}"/>
          </ac:cxnSpMkLst>
        </pc:cxnChg>
        <pc:cxnChg chg="add mod replST">
          <ac:chgData name="Jason Madden" userId="bc5fc663-4acf-4c70-beae-e4d4354e4ea1" providerId="ADAL" clId="{9242D02F-3850-469A-9E84-08401F66F885}" dt="2022-11-23T02:50:56.673" v="12102"/>
          <ac:cxnSpMkLst>
            <pc:docMk/>
            <pc:sldMk cId="1597789525" sldId="2147471493"/>
            <ac:cxnSpMk id="41" creationId="{7EE9DAAE-FE68-2356-E1D2-093198E5D8A7}"/>
          </ac:cxnSpMkLst>
        </pc:cxnChg>
        <pc:cxnChg chg="add mod replST">
          <ac:chgData name="Jason Madden" userId="bc5fc663-4acf-4c70-beae-e4d4354e4ea1" providerId="ADAL" clId="{9242D02F-3850-469A-9E84-08401F66F885}" dt="2022-11-23T02:50:56.676" v="12108"/>
          <ac:cxnSpMkLst>
            <pc:docMk/>
            <pc:sldMk cId="1597789525" sldId="2147471493"/>
            <ac:cxnSpMk id="42" creationId="{BC1D380A-D6FD-7FD6-6867-EE2BD9330765}"/>
          </ac:cxnSpMkLst>
        </pc:cxnChg>
        <pc:cxnChg chg="add mod replST">
          <ac:chgData name="Jason Madden" userId="bc5fc663-4acf-4c70-beae-e4d4354e4ea1" providerId="ADAL" clId="{9242D02F-3850-469A-9E84-08401F66F885}" dt="2022-11-23T02:50:56.679" v="12114"/>
          <ac:cxnSpMkLst>
            <pc:docMk/>
            <pc:sldMk cId="1597789525" sldId="2147471493"/>
            <ac:cxnSpMk id="43" creationId="{E17DA06D-B96D-EDBD-B929-5CC69F9BB076}"/>
          </ac:cxnSpMkLst>
        </pc:cxnChg>
        <pc:cxnChg chg="add mod replST">
          <ac:chgData name="Jason Madden" userId="bc5fc663-4acf-4c70-beae-e4d4354e4ea1" providerId="ADAL" clId="{9242D02F-3850-469A-9E84-08401F66F885}" dt="2022-11-23T02:50:56.677" v="12110"/>
          <ac:cxnSpMkLst>
            <pc:docMk/>
            <pc:sldMk cId="1597789525" sldId="2147471493"/>
            <ac:cxnSpMk id="44" creationId="{A1655AA1-814C-5EB9-A66C-FD3CA3DD2A57}"/>
          </ac:cxnSpMkLst>
        </pc:cxnChg>
        <pc:cxnChg chg="add mod replST">
          <ac:chgData name="Jason Madden" userId="bc5fc663-4acf-4c70-beae-e4d4354e4ea1" providerId="ADAL" clId="{9242D02F-3850-469A-9E84-08401F66F885}" dt="2022-11-23T02:50:56.675" v="12106"/>
          <ac:cxnSpMkLst>
            <pc:docMk/>
            <pc:sldMk cId="1597789525" sldId="2147471493"/>
            <ac:cxnSpMk id="45" creationId="{F32C0CCA-20B4-EB20-0396-F2F09D5E7F5A}"/>
          </ac:cxnSpMkLst>
        </pc:cxnChg>
        <pc:cxnChg chg="add mod replST">
          <ac:chgData name="Jason Madden" userId="bc5fc663-4acf-4c70-beae-e4d4354e4ea1" providerId="ADAL" clId="{9242D02F-3850-469A-9E84-08401F66F885}" dt="2022-11-23T02:50:56.674" v="12103"/>
          <ac:cxnSpMkLst>
            <pc:docMk/>
            <pc:sldMk cId="1597789525" sldId="2147471493"/>
            <ac:cxnSpMk id="46" creationId="{C9394051-7C4D-7B80-B313-FACA2A3E6FBE}"/>
          </ac:cxnSpMkLst>
        </pc:cxnChg>
        <pc:cxnChg chg="add mod replST">
          <ac:chgData name="Jason Madden" userId="bc5fc663-4acf-4c70-beae-e4d4354e4ea1" providerId="ADAL" clId="{9242D02F-3850-469A-9E84-08401F66F885}" dt="2022-11-23T02:50:56.679" v="12113"/>
          <ac:cxnSpMkLst>
            <pc:docMk/>
            <pc:sldMk cId="1597789525" sldId="2147471493"/>
            <ac:cxnSpMk id="47" creationId="{810D8478-B301-AFBF-068F-D1D5C6E56A01}"/>
          </ac:cxnSpMkLst>
        </pc:cxnChg>
        <pc:cxnChg chg="add mod replST">
          <ac:chgData name="Jason Madden" userId="bc5fc663-4acf-4c70-beae-e4d4354e4ea1" providerId="ADAL" clId="{9242D02F-3850-469A-9E84-08401F66F885}" dt="2022-11-23T02:50:56.681" v="12116"/>
          <ac:cxnSpMkLst>
            <pc:docMk/>
            <pc:sldMk cId="1597789525" sldId="2147471493"/>
            <ac:cxnSpMk id="48" creationId="{42515451-4455-57C7-087A-C459F39ACC92}"/>
          </ac:cxnSpMkLst>
        </pc:cxnChg>
        <pc:cxnChg chg="add mod replST">
          <ac:chgData name="Jason Madden" userId="bc5fc663-4acf-4c70-beae-e4d4354e4ea1" providerId="ADAL" clId="{9242D02F-3850-469A-9E84-08401F66F885}" dt="2022-11-23T02:50:56.686" v="12126"/>
          <ac:cxnSpMkLst>
            <pc:docMk/>
            <pc:sldMk cId="1597789525" sldId="2147471493"/>
            <ac:cxnSpMk id="49" creationId="{270972C6-C52F-B848-CC3E-92CD730511CD}"/>
          </ac:cxnSpMkLst>
        </pc:cxnChg>
        <pc:cxnChg chg="add mod replST">
          <ac:chgData name="Jason Madden" userId="bc5fc663-4acf-4c70-beae-e4d4354e4ea1" providerId="ADAL" clId="{9242D02F-3850-469A-9E84-08401F66F885}" dt="2022-11-23T02:50:56.685" v="12124"/>
          <ac:cxnSpMkLst>
            <pc:docMk/>
            <pc:sldMk cId="1597789525" sldId="2147471493"/>
            <ac:cxnSpMk id="50" creationId="{80C0ABAE-8EDD-B9BC-CA04-33295CB2FF99}"/>
          </ac:cxnSpMkLst>
        </pc:cxnChg>
        <pc:cxnChg chg="del">
          <ac:chgData name="Jason Madden" userId="bc5fc663-4acf-4c70-beae-e4d4354e4ea1" providerId="ADAL" clId="{9242D02F-3850-469A-9E84-08401F66F885}" dt="2022-11-23T02:50:46.717" v="11965"/>
          <ac:cxnSpMkLst>
            <pc:docMk/>
            <pc:sldMk cId="1597789525" sldId="2147471493"/>
            <ac:cxnSpMk id="78" creationId="{947A894C-9DE0-D03F-1192-7FDCD52283C0}"/>
          </ac:cxnSpMkLst>
        </pc:cxnChg>
        <pc:cxnChg chg="del">
          <ac:chgData name="Jason Madden" userId="bc5fc663-4acf-4c70-beae-e4d4354e4ea1" providerId="ADAL" clId="{9242D02F-3850-469A-9E84-08401F66F885}" dt="2022-11-23T02:50:46.715" v="11963"/>
          <ac:cxnSpMkLst>
            <pc:docMk/>
            <pc:sldMk cId="1597789525" sldId="2147471493"/>
            <ac:cxnSpMk id="79" creationId="{50FA35C2-D169-C1B6-61E1-3499CB25D1E4}"/>
          </ac:cxnSpMkLst>
        </pc:cxnChg>
        <pc:cxnChg chg="del">
          <ac:chgData name="Jason Madden" userId="bc5fc663-4acf-4c70-beae-e4d4354e4ea1" providerId="ADAL" clId="{9242D02F-3850-469A-9E84-08401F66F885}" dt="2022-11-23T02:50:46.711" v="11957"/>
          <ac:cxnSpMkLst>
            <pc:docMk/>
            <pc:sldMk cId="1597789525" sldId="2147471493"/>
            <ac:cxnSpMk id="80" creationId="{262C02B7-5E07-BE45-8A60-FE90B822A0E3}"/>
          </ac:cxnSpMkLst>
        </pc:cxnChg>
        <pc:cxnChg chg="del">
          <ac:chgData name="Jason Madden" userId="bc5fc663-4acf-4c70-beae-e4d4354e4ea1" providerId="ADAL" clId="{9242D02F-3850-469A-9E84-08401F66F885}" dt="2022-11-23T02:50:46.709" v="11955"/>
          <ac:cxnSpMkLst>
            <pc:docMk/>
            <pc:sldMk cId="1597789525" sldId="2147471493"/>
            <ac:cxnSpMk id="81" creationId="{3F157AA8-1091-3931-A4C1-D58F4BF29A04}"/>
          </ac:cxnSpMkLst>
        </pc:cxnChg>
        <pc:cxnChg chg="del">
          <ac:chgData name="Jason Madden" userId="bc5fc663-4acf-4c70-beae-e4d4354e4ea1" providerId="ADAL" clId="{9242D02F-3850-469A-9E84-08401F66F885}" dt="2022-11-23T02:50:46.708" v="11953"/>
          <ac:cxnSpMkLst>
            <pc:docMk/>
            <pc:sldMk cId="1597789525" sldId="2147471493"/>
            <ac:cxnSpMk id="82" creationId="{2BA08AF8-FFA6-6C7D-5CDA-E0798BAE4075}"/>
          </ac:cxnSpMkLst>
        </pc:cxnChg>
        <pc:cxnChg chg="del">
          <ac:chgData name="Jason Madden" userId="bc5fc663-4acf-4c70-beae-e4d4354e4ea1" providerId="ADAL" clId="{9242D02F-3850-469A-9E84-08401F66F885}" dt="2022-11-23T02:50:46.706" v="11951"/>
          <ac:cxnSpMkLst>
            <pc:docMk/>
            <pc:sldMk cId="1597789525" sldId="2147471493"/>
            <ac:cxnSpMk id="83" creationId="{F3D795E9-93EA-573C-BE86-57C23B617F6F}"/>
          </ac:cxnSpMkLst>
        </pc:cxnChg>
        <pc:cxnChg chg="del">
          <ac:chgData name="Jason Madden" userId="bc5fc663-4acf-4c70-beae-e4d4354e4ea1" providerId="ADAL" clId="{9242D02F-3850-469A-9E84-08401F66F885}" dt="2022-11-23T02:50:46.704" v="11949"/>
          <ac:cxnSpMkLst>
            <pc:docMk/>
            <pc:sldMk cId="1597789525" sldId="2147471493"/>
            <ac:cxnSpMk id="84" creationId="{2977CF39-4BEA-793C-6542-D114EE67601C}"/>
          </ac:cxnSpMkLst>
        </pc:cxnChg>
        <pc:cxnChg chg="del">
          <ac:chgData name="Jason Madden" userId="bc5fc663-4acf-4c70-beae-e4d4354e4ea1" providerId="ADAL" clId="{9242D02F-3850-469A-9E84-08401F66F885}" dt="2022-11-23T02:50:46.703" v="11947"/>
          <ac:cxnSpMkLst>
            <pc:docMk/>
            <pc:sldMk cId="1597789525" sldId="2147471493"/>
            <ac:cxnSpMk id="85" creationId="{5C3340A3-68AC-6E35-69C5-2905E54960F6}"/>
          </ac:cxnSpMkLst>
        </pc:cxnChg>
        <pc:cxnChg chg="del">
          <ac:chgData name="Jason Madden" userId="bc5fc663-4acf-4c70-beae-e4d4354e4ea1" providerId="ADAL" clId="{9242D02F-3850-469A-9E84-08401F66F885}" dt="2022-11-23T02:50:46.701" v="11945"/>
          <ac:cxnSpMkLst>
            <pc:docMk/>
            <pc:sldMk cId="1597789525" sldId="2147471493"/>
            <ac:cxnSpMk id="86" creationId="{0A75D0B7-672F-C33F-B57D-35C996203034}"/>
          </ac:cxnSpMkLst>
        </pc:cxnChg>
        <pc:cxnChg chg="del">
          <ac:chgData name="Jason Madden" userId="bc5fc663-4acf-4c70-beae-e4d4354e4ea1" providerId="ADAL" clId="{9242D02F-3850-469A-9E84-08401F66F885}" dt="2022-11-23T02:50:46.699" v="11943"/>
          <ac:cxnSpMkLst>
            <pc:docMk/>
            <pc:sldMk cId="1597789525" sldId="2147471493"/>
            <ac:cxnSpMk id="87" creationId="{21AC36A6-0BD1-30A0-A691-9253570D94F2}"/>
          </ac:cxnSpMkLst>
        </pc:cxnChg>
        <pc:cxnChg chg="del">
          <ac:chgData name="Jason Madden" userId="bc5fc663-4acf-4c70-beae-e4d4354e4ea1" providerId="ADAL" clId="{9242D02F-3850-469A-9E84-08401F66F885}" dt="2022-11-23T02:50:46.698" v="11941"/>
          <ac:cxnSpMkLst>
            <pc:docMk/>
            <pc:sldMk cId="1597789525" sldId="2147471493"/>
            <ac:cxnSpMk id="88" creationId="{80F1D63C-BDDB-C0BD-6366-E3446D478285}"/>
          </ac:cxnSpMkLst>
        </pc:cxnChg>
        <pc:cxnChg chg="del">
          <ac:chgData name="Jason Madden" userId="bc5fc663-4acf-4c70-beae-e4d4354e4ea1" providerId="ADAL" clId="{9242D02F-3850-469A-9E84-08401F66F885}" dt="2022-11-23T02:50:46.696" v="11939"/>
          <ac:cxnSpMkLst>
            <pc:docMk/>
            <pc:sldMk cId="1597789525" sldId="2147471493"/>
            <ac:cxnSpMk id="89" creationId="{9657F12A-D3FA-1B05-21D1-E8CD0C4E436F}"/>
          </ac:cxnSpMkLst>
        </pc:cxnChg>
        <pc:cxnChg chg="del">
          <ac:chgData name="Jason Madden" userId="bc5fc663-4acf-4c70-beae-e4d4354e4ea1" providerId="ADAL" clId="{9242D02F-3850-469A-9E84-08401F66F885}" dt="2022-11-23T02:50:46.694" v="11937"/>
          <ac:cxnSpMkLst>
            <pc:docMk/>
            <pc:sldMk cId="1597789525" sldId="2147471493"/>
            <ac:cxnSpMk id="90" creationId="{1DFE1D2D-394C-E570-C7C6-FFD7EBC89210}"/>
          </ac:cxnSpMkLst>
        </pc:cxnChg>
        <pc:cxnChg chg="del">
          <ac:chgData name="Jason Madden" userId="bc5fc663-4acf-4c70-beae-e4d4354e4ea1" providerId="ADAL" clId="{9242D02F-3850-469A-9E84-08401F66F885}" dt="2022-11-23T02:50:46.693" v="11935"/>
          <ac:cxnSpMkLst>
            <pc:docMk/>
            <pc:sldMk cId="1597789525" sldId="2147471493"/>
            <ac:cxnSpMk id="91" creationId="{D6604175-6947-6AD0-6815-0870FA8461E0}"/>
          </ac:cxnSpMkLst>
        </pc:cxnChg>
        <pc:cxnChg chg="del">
          <ac:chgData name="Jason Madden" userId="bc5fc663-4acf-4c70-beae-e4d4354e4ea1" providerId="ADAL" clId="{9242D02F-3850-469A-9E84-08401F66F885}" dt="2022-11-23T02:50:46.691" v="11933"/>
          <ac:cxnSpMkLst>
            <pc:docMk/>
            <pc:sldMk cId="1597789525" sldId="2147471493"/>
            <ac:cxnSpMk id="92" creationId="{7444E41C-D1C5-44F3-DF78-70A16856AB1E}"/>
          </ac:cxnSpMkLst>
        </pc:cxnChg>
        <pc:cxnChg chg="del">
          <ac:chgData name="Jason Madden" userId="bc5fc663-4acf-4c70-beae-e4d4354e4ea1" providerId="ADAL" clId="{9242D02F-3850-469A-9E84-08401F66F885}" dt="2022-11-23T02:50:46.725" v="11975"/>
          <ac:cxnSpMkLst>
            <pc:docMk/>
            <pc:sldMk cId="1597789525" sldId="2147471493"/>
            <ac:cxnSpMk id="93" creationId="{AEA393CF-9BF5-8D91-99BE-9667DAA0F8B0}"/>
          </ac:cxnSpMkLst>
        </pc:cxnChg>
        <pc:cxnChg chg="del">
          <ac:chgData name="Jason Madden" userId="bc5fc663-4acf-4c70-beae-e4d4354e4ea1" providerId="ADAL" clId="{9242D02F-3850-469A-9E84-08401F66F885}" dt="2022-11-23T02:50:46.722" v="11971"/>
          <ac:cxnSpMkLst>
            <pc:docMk/>
            <pc:sldMk cId="1597789525" sldId="2147471493"/>
            <ac:cxnSpMk id="94" creationId="{505510AC-CB6A-755E-ACEC-38E13C4167E0}"/>
          </ac:cxnSpMkLst>
        </pc:cxnChg>
        <pc:cxnChg chg="del">
          <ac:chgData name="Jason Madden" userId="bc5fc663-4acf-4c70-beae-e4d4354e4ea1" providerId="ADAL" clId="{9242D02F-3850-469A-9E84-08401F66F885}" dt="2022-11-23T02:50:46.719" v="11967"/>
          <ac:cxnSpMkLst>
            <pc:docMk/>
            <pc:sldMk cId="1597789525" sldId="2147471493"/>
            <ac:cxnSpMk id="95" creationId="{BA8E8275-0E77-AAF0-429D-EF5F6CCACD7D}"/>
          </ac:cxnSpMkLst>
        </pc:cxnChg>
        <pc:cxnChg chg="del">
          <ac:chgData name="Jason Madden" userId="bc5fc663-4acf-4c70-beae-e4d4354e4ea1" providerId="ADAL" clId="{9242D02F-3850-469A-9E84-08401F66F885}" dt="2022-11-23T02:50:46.724" v="11973"/>
          <ac:cxnSpMkLst>
            <pc:docMk/>
            <pc:sldMk cId="1597789525" sldId="2147471493"/>
            <ac:cxnSpMk id="96" creationId="{73A9914A-7ABF-A731-6778-0875853E6A82}"/>
          </ac:cxnSpMkLst>
        </pc:cxnChg>
        <pc:cxnChg chg="del">
          <ac:chgData name="Jason Madden" userId="bc5fc663-4acf-4c70-beae-e4d4354e4ea1" providerId="ADAL" clId="{9242D02F-3850-469A-9E84-08401F66F885}" dt="2022-11-23T02:50:46.721" v="11969"/>
          <ac:cxnSpMkLst>
            <pc:docMk/>
            <pc:sldMk cId="1597789525" sldId="2147471493"/>
            <ac:cxnSpMk id="97" creationId="{D7F84185-779D-9EBD-16A1-76CB7AB1E5B0}"/>
          </ac:cxnSpMkLst>
        </pc:cxnChg>
        <pc:cxnChg chg="del">
          <ac:chgData name="Jason Madden" userId="bc5fc663-4acf-4c70-beae-e4d4354e4ea1" providerId="ADAL" clId="{9242D02F-3850-469A-9E84-08401F66F885}" dt="2022-11-23T02:50:46.714" v="11961"/>
          <ac:cxnSpMkLst>
            <pc:docMk/>
            <pc:sldMk cId="1597789525" sldId="2147471493"/>
            <ac:cxnSpMk id="139" creationId="{912E89B0-272E-13A1-7050-074CAB70AEFE}"/>
          </ac:cxnSpMkLst>
        </pc:cxnChg>
        <pc:cxnChg chg="del">
          <ac:chgData name="Jason Madden" userId="bc5fc663-4acf-4c70-beae-e4d4354e4ea1" providerId="ADAL" clId="{9242D02F-3850-469A-9E84-08401F66F885}" dt="2022-11-23T02:50:46.690" v="11931"/>
          <ac:cxnSpMkLst>
            <pc:docMk/>
            <pc:sldMk cId="1597789525" sldId="2147471493"/>
            <ac:cxnSpMk id="144" creationId="{1F41B313-71AD-3404-23BC-D2EC6F2EA82B}"/>
          </ac:cxnSpMkLst>
        </pc:cxnChg>
        <pc:cxnChg chg="del">
          <ac:chgData name="Jason Madden" userId="bc5fc663-4acf-4c70-beae-e4d4354e4ea1" providerId="ADAL" clId="{9242D02F-3850-469A-9E84-08401F66F885}" dt="2022-11-23T02:50:46.689" v="11929"/>
          <ac:cxnSpMkLst>
            <pc:docMk/>
            <pc:sldMk cId="1597789525" sldId="2147471493"/>
            <ac:cxnSpMk id="145" creationId="{220E1207-9915-4A32-8EB1-DF58E133BFC3}"/>
          </ac:cxnSpMkLst>
        </pc:cxnChg>
        <pc:cxnChg chg="del">
          <ac:chgData name="Jason Madden" userId="bc5fc663-4acf-4c70-beae-e4d4354e4ea1" providerId="ADAL" clId="{9242D02F-3850-469A-9E84-08401F66F885}" dt="2022-11-23T02:50:46.688" v="11927"/>
          <ac:cxnSpMkLst>
            <pc:docMk/>
            <pc:sldMk cId="1597789525" sldId="2147471493"/>
            <ac:cxnSpMk id="146" creationId="{11ECD217-E514-7DF5-6B76-C7D061217AED}"/>
          </ac:cxnSpMkLst>
        </pc:cxnChg>
        <pc:cxnChg chg="del">
          <ac:chgData name="Jason Madden" userId="bc5fc663-4acf-4c70-beae-e4d4354e4ea1" providerId="ADAL" clId="{9242D02F-3850-469A-9E84-08401F66F885}" dt="2022-11-23T02:50:46.687" v="11925"/>
          <ac:cxnSpMkLst>
            <pc:docMk/>
            <pc:sldMk cId="1597789525" sldId="2147471493"/>
            <ac:cxnSpMk id="147" creationId="{9A135985-2C66-C50B-37E0-E3865E935E7A}"/>
          </ac:cxnSpMkLst>
        </pc:cxnChg>
        <pc:cxnChg chg="del">
          <ac:chgData name="Jason Madden" userId="bc5fc663-4acf-4c70-beae-e4d4354e4ea1" providerId="ADAL" clId="{9242D02F-3850-469A-9E84-08401F66F885}" dt="2022-11-23T02:50:46.713" v="11959"/>
          <ac:cxnSpMkLst>
            <pc:docMk/>
            <pc:sldMk cId="1597789525" sldId="2147471493"/>
            <ac:cxnSpMk id="212" creationId="{1EBA9FC5-5353-2C07-009E-970907C2C7C9}"/>
          </ac:cxnSpMkLst>
        </pc:cxnChg>
        <pc:cxnChg chg="del">
          <ac:chgData name="Jason Madden" userId="bc5fc663-4acf-4c70-beae-e4d4354e4ea1" providerId="ADAL" clId="{9242D02F-3850-469A-9E84-08401F66F885}" dt="2022-11-23T02:50:46.686" v="11923"/>
          <ac:cxnSpMkLst>
            <pc:docMk/>
            <pc:sldMk cId="1597789525" sldId="2147471493"/>
            <ac:cxnSpMk id="216" creationId="{FADD9CF1-D464-B76E-2704-D9FD9407E9A8}"/>
          </ac:cxnSpMkLst>
        </pc:cxnChg>
        <pc:cxnChg chg="del">
          <ac:chgData name="Jason Madden" userId="bc5fc663-4acf-4c70-beae-e4d4354e4ea1" providerId="ADAL" clId="{9242D02F-3850-469A-9E84-08401F66F885}" dt="2022-11-23T02:50:46.685" v="11921"/>
          <ac:cxnSpMkLst>
            <pc:docMk/>
            <pc:sldMk cId="1597789525" sldId="2147471493"/>
            <ac:cxnSpMk id="217" creationId="{8627A6AB-C6D6-E422-440E-C915F188F61E}"/>
          </ac:cxnSpMkLst>
        </pc:cxnChg>
        <pc:cxnChg chg="del">
          <ac:chgData name="Jason Madden" userId="bc5fc663-4acf-4c70-beae-e4d4354e4ea1" providerId="ADAL" clId="{9242D02F-3850-469A-9E84-08401F66F885}" dt="2022-11-23T02:50:46.684" v="11919"/>
          <ac:cxnSpMkLst>
            <pc:docMk/>
            <pc:sldMk cId="1597789525" sldId="2147471493"/>
            <ac:cxnSpMk id="218" creationId="{0F214631-00A5-90F8-592D-AF8C8FAE8CD3}"/>
          </ac:cxnSpMkLst>
        </pc:cxnChg>
        <pc:cxnChg chg="del">
          <ac:chgData name="Jason Madden" userId="bc5fc663-4acf-4c70-beae-e4d4354e4ea1" providerId="ADAL" clId="{9242D02F-3850-469A-9E84-08401F66F885}" dt="2022-11-23T02:50:46.682" v="11917"/>
          <ac:cxnSpMkLst>
            <pc:docMk/>
            <pc:sldMk cId="1597789525" sldId="2147471493"/>
            <ac:cxnSpMk id="219" creationId="{0C14CAA1-A2C0-1789-EC92-10576210C44D}"/>
          </ac:cxnSpMkLst>
        </pc:cxnChg>
      </pc:sldChg>
      <pc:sldChg chg="addSp delSp modSp add mod">
        <pc:chgData name="Jason Madden" userId="bc5fc663-4acf-4c70-beae-e4d4354e4ea1" providerId="ADAL" clId="{9242D02F-3850-469A-9E84-08401F66F885}" dt="2022-11-23T02:50:40.581" v="11847"/>
        <pc:sldMkLst>
          <pc:docMk/>
          <pc:sldMk cId="636534019" sldId="2147471494"/>
        </pc:sldMkLst>
        <pc:spChg chg="add del mod modVis">
          <ac:chgData name="Jason Madden" userId="bc5fc663-4acf-4c70-beae-e4d4354e4ea1" providerId="ADAL" clId="{9242D02F-3850-469A-9E84-08401F66F885}" dt="2022-11-23T02:50:40.578" v="11845"/>
          <ac:spMkLst>
            <pc:docMk/>
            <pc:sldMk cId="636534019" sldId="2147471494"/>
            <ac:spMk id="2" creationId="{2F937109-3619-ABBE-EF42-4EBA0BDD905F}"/>
          </ac:spMkLst>
        </pc:spChg>
        <pc:spChg chg="mod">
          <ac:chgData name="Jason Madden" userId="bc5fc663-4acf-4c70-beae-e4d4354e4ea1" providerId="ADAL" clId="{9242D02F-3850-469A-9E84-08401F66F885}" dt="2022-11-23T02:50:40.500" v="11798" actId="948"/>
          <ac:spMkLst>
            <pc:docMk/>
            <pc:sldMk cId="636534019" sldId="2147471494"/>
            <ac:spMk id="9" creationId="{B44DCDED-63AB-0673-E99A-9E09903C9C29}"/>
          </ac:spMkLst>
        </pc:spChg>
        <pc:graphicFrameChg chg="mod">
          <ac:chgData name="Jason Madden" userId="bc5fc663-4acf-4c70-beae-e4d4354e4ea1" providerId="ADAL" clId="{9242D02F-3850-469A-9E84-08401F66F885}" dt="2022-11-23T02:50:40.581" v="11847"/>
          <ac:graphicFrameMkLst>
            <pc:docMk/>
            <pc:sldMk cId="636534019" sldId="2147471494"/>
            <ac:graphicFrameMk id="8" creationId="{F06A494A-AFD4-3584-0FBE-7E8DB94F24C8}"/>
          </ac:graphicFrameMkLst>
        </pc:graphicFrameChg>
      </pc:sldChg>
      <pc:sldChg chg="delSp mod">
        <pc:chgData name="Jason Madden" userId="bc5fc663-4acf-4c70-beae-e4d4354e4ea1" providerId="ADAL" clId="{9242D02F-3850-469A-9E84-08401F66F885}" dt="2022-11-23T02:52:54.360" v="12657" actId="478"/>
        <pc:sldMkLst>
          <pc:docMk/>
          <pc:sldMk cId="1808530719" sldId="2147471495"/>
        </pc:sldMkLst>
        <pc:spChg chg="del">
          <ac:chgData name="Jason Madden" userId="bc5fc663-4acf-4c70-beae-e4d4354e4ea1" providerId="ADAL" clId="{9242D02F-3850-469A-9E84-08401F66F885}" dt="2022-11-23T02:52:54.360" v="12657" actId="478"/>
          <ac:spMkLst>
            <pc:docMk/>
            <pc:sldMk cId="1808530719" sldId="2147471495"/>
            <ac:spMk id="44" creationId="{6B2B5AC6-D70E-7350-348F-A5FBA9236711}"/>
          </ac:spMkLst>
        </pc:spChg>
        <pc:grpChg chg="del">
          <ac:chgData name="Jason Madden" userId="bc5fc663-4acf-4c70-beae-e4d4354e4ea1" providerId="ADAL" clId="{9242D02F-3850-469A-9E84-08401F66F885}" dt="2022-11-23T02:52:54.360" v="12657" actId="478"/>
          <ac:grpSpMkLst>
            <pc:docMk/>
            <pc:sldMk cId="1808530719" sldId="2147471495"/>
            <ac:grpSpMk id="26" creationId="{9BBBF82D-CB2D-B493-B59C-6AE6D067976D}"/>
          </ac:grpSpMkLst>
        </pc:grpChg>
      </pc:sldChg>
    </pc:docChg>
  </pc:docChgLst>
  <pc:docChgLst>
    <pc:chgData name="Rochelle Boland" userId="86fda904-73bb-4d24-9ca9-bad9a30c9062" providerId="ADAL" clId="{63399361-9180-40E4-91F8-E0ACC087B61D}"/>
    <pc:docChg chg="custSel addSld delSld modSld replTag">
      <pc:chgData name="Rochelle Boland" userId="86fda904-73bb-4d24-9ca9-bad9a30c9062" providerId="ADAL" clId="{63399361-9180-40E4-91F8-E0ACC087B61D}" dt="2022-11-23T20:34:29.541" v="2904" actId="20577"/>
      <pc:docMkLst>
        <pc:docMk/>
      </pc:docMkLst>
      <pc:sldChg chg="addSp delSp modSp mod">
        <pc:chgData name="Rochelle Boland" userId="86fda904-73bb-4d24-9ca9-bad9a30c9062" providerId="ADAL" clId="{63399361-9180-40E4-91F8-E0ACC087B61D}" dt="2022-11-23T20:29:16.852" v="2810"/>
        <pc:sldMkLst>
          <pc:docMk/>
          <pc:sldMk cId="3351952343" sldId="2147470719"/>
        </pc:sldMkLst>
        <pc:spChg chg="mod">
          <ac:chgData name="Rochelle Boland" userId="86fda904-73bb-4d24-9ca9-bad9a30c9062" providerId="ADAL" clId="{63399361-9180-40E4-91F8-E0ACC087B61D}" dt="2022-11-23T20:29:16.675" v="2750" actId="948"/>
          <ac:spMkLst>
            <pc:docMk/>
            <pc:sldMk cId="3351952343" sldId="2147470719"/>
            <ac:spMk id="3" creationId="{7BABAB3D-49A8-4B57-0EB1-9FB6A0829504}"/>
          </ac:spMkLst>
        </pc:spChg>
        <pc:spChg chg="add del mod modVis">
          <ac:chgData name="Rochelle Boland" userId="86fda904-73bb-4d24-9ca9-bad9a30c9062" providerId="ADAL" clId="{63399361-9180-40E4-91F8-E0ACC087B61D}" dt="2022-11-23T20:27:37.634" v="2137"/>
          <ac:spMkLst>
            <pc:docMk/>
            <pc:sldMk cId="3351952343" sldId="2147470719"/>
            <ac:spMk id="5" creationId="{2A2815F5-96A1-FFCC-1621-6914C2A0237A}"/>
          </ac:spMkLst>
        </pc:spChg>
        <pc:spChg chg="mod">
          <ac:chgData name="Rochelle Boland" userId="86fda904-73bb-4d24-9ca9-bad9a30c9062" providerId="ADAL" clId="{63399361-9180-40E4-91F8-E0ACC087B61D}" dt="2022-11-23T20:29:16.683" v="2751"/>
          <ac:spMkLst>
            <pc:docMk/>
            <pc:sldMk cId="3351952343" sldId="2147470719"/>
            <ac:spMk id="7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695" v="2757"/>
          <ac:spMkLst>
            <pc:docMk/>
            <pc:sldMk cId="3351952343" sldId="2147470719"/>
            <ac:spMk id="10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696" v="2758"/>
          <ac:spMkLst>
            <pc:docMk/>
            <pc:sldMk cId="3351952343" sldId="2147470719"/>
            <ac:spMk id="11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706" v="2766"/>
          <ac:spMkLst>
            <pc:docMk/>
            <pc:sldMk cId="3351952343" sldId="2147470719"/>
            <ac:spMk id="12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709" v="2769"/>
          <ac:spMkLst>
            <pc:docMk/>
            <pc:sldMk cId="3351952343" sldId="2147470719"/>
            <ac:spMk id="13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718" v="2775"/>
          <ac:spMkLst>
            <pc:docMk/>
            <pc:sldMk cId="3351952343" sldId="2147470719"/>
            <ac:spMk id="14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700" v="2761"/>
          <ac:spMkLst>
            <pc:docMk/>
            <pc:sldMk cId="3351952343" sldId="2147470719"/>
            <ac:spMk id="17" creationId="{E26CF48E-03F2-5C9D-09DC-8D98DB63AD3C}"/>
          </ac:spMkLst>
        </pc:spChg>
        <pc:spChg chg="mod">
          <ac:chgData name="Rochelle Boland" userId="86fda904-73bb-4d24-9ca9-bad9a30c9062" providerId="ADAL" clId="{63399361-9180-40E4-91F8-E0ACC087B61D}" dt="2022-11-23T20:29:16.795" v="2790"/>
          <ac:spMkLst>
            <pc:docMk/>
            <pc:sldMk cId="3351952343" sldId="2147470719"/>
            <ac:spMk id="27" creationId="{F42BB312-C798-CEDF-71B0-8DB62BC66B06}"/>
          </ac:spMkLst>
        </pc:spChg>
        <pc:spChg chg="mod">
          <ac:chgData name="Rochelle Boland" userId="86fda904-73bb-4d24-9ca9-bad9a30c9062" providerId="ADAL" clId="{63399361-9180-40E4-91F8-E0ACC087B61D}" dt="2022-11-23T20:29:16.798" v="2791"/>
          <ac:spMkLst>
            <pc:docMk/>
            <pc:sldMk cId="3351952343" sldId="2147470719"/>
            <ac:spMk id="28" creationId="{D6457F4C-FD5A-8164-F019-4A35293E0BB6}"/>
          </ac:spMkLst>
        </pc:spChg>
        <pc:spChg chg="mod">
          <ac:chgData name="Rochelle Boland" userId="86fda904-73bb-4d24-9ca9-bad9a30c9062" providerId="ADAL" clId="{63399361-9180-40E4-91F8-E0ACC087B61D}" dt="2022-11-23T20:29:16.799" v="2792"/>
          <ac:spMkLst>
            <pc:docMk/>
            <pc:sldMk cId="3351952343" sldId="2147470719"/>
            <ac:spMk id="29" creationId="{63CC2255-A90D-63AA-7DE2-AAC183A5E4A0}"/>
          </ac:spMkLst>
        </pc:spChg>
        <pc:spChg chg="mod">
          <ac:chgData name="Rochelle Boland" userId="86fda904-73bb-4d24-9ca9-bad9a30c9062" providerId="ADAL" clId="{63399361-9180-40E4-91F8-E0ACC087B61D}" dt="2022-11-23T20:29:16.800" v="2793"/>
          <ac:spMkLst>
            <pc:docMk/>
            <pc:sldMk cId="3351952343" sldId="2147470719"/>
            <ac:spMk id="30" creationId="{47021FAE-F532-4D7E-87F4-5CE32AFD6BDC}"/>
          </ac:spMkLst>
        </pc:spChg>
        <pc:spChg chg="mod">
          <ac:chgData name="Rochelle Boland" userId="86fda904-73bb-4d24-9ca9-bad9a30c9062" providerId="ADAL" clId="{63399361-9180-40E4-91F8-E0ACC087B61D}" dt="2022-11-23T20:29:16.803" v="2794"/>
          <ac:spMkLst>
            <pc:docMk/>
            <pc:sldMk cId="3351952343" sldId="2147470719"/>
            <ac:spMk id="31" creationId="{A44FB198-ECAE-1189-4F75-9FCF68AAAC47}"/>
          </ac:spMkLst>
        </pc:spChg>
        <pc:spChg chg="mod">
          <ac:chgData name="Rochelle Boland" userId="86fda904-73bb-4d24-9ca9-bad9a30c9062" providerId="ADAL" clId="{63399361-9180-40E4-91F8-E0ACC087B61D}" dt="2022-11-23T20:29:16.804" v="2795"/>
          <ac:spMkLst>
            <pc:docMk/>
            <pc:sldMk cId="3351952343" sldId="2147470719"/>
            <ac:spMk id="32" creationId="{5B7AB5FE-D322-CAF4-3D4B-56A1C85AD126}"/>
          </ac:spMkLst>
        </pc:spChg>
        <pc:spChg chg="mod">
          <ac:chgData name="Rochelle Boland" userId="86fda904-73bb-4d24-9ca9-bad9a30c9062" providerId="ADAL" clId="{63399361-9180-40E4-91F8-E0ACC087B61D}" dt="2022-11-23T20:29:16.806" v="2796"/>
          <ac:spMkLst>
            <pc:docMk/>
            <pc:sldMk cId="3351952343" sldId="2147470719"/>
            <ac:spMk id="33" creationId="{AE45B97D-004F-7260-ADC6-5EACC30583AB}"/>
          </ac:spMkLst>
        </pc:spChg>
        <pc:spChg chg="mod">
          <ac:chgData name="Rochelle Boland" userId="86fda904-73bb-4d24-9ca9-bad9a30c9062" providerId="ADAL" clId="{63399361-9180-40E4-91F8-E0ACC087B61D}" dt="2022-11-23T20:29:16.808" v="2797"/>
          <ac:spMkLst>
            <pc:docMk/>
            <pc:sldMk cId="3351952343" sldId="2147470719"/>
            <ac:spMk id="34" creationId="{341D07F9-1EDF-7DAA-3907-6F6E730F55AD}"/>
          </ac:spMkLst>
        </pc:spChg>
        <pc:spChg chg="mod">
          <ac:chgData name="Rochelle Boland" userId="86fda904-73bb-4d24-9ca9-bad9a30c9062" providerId="ADAL" clId="{63399361-9180-40E4-91F8-E0ACC087B61D}" dt="2022-11-23T20:29:16.809" v="2798"/>
          <ac:spMkLst>
            <pc:docMk/>
            <pc:sldMk cId="3351952343" sldId="2147470719"/>
            <ac:spMk id="35" creationId="{14E23497-BEAC-C718-CB2D-0633C5525BEE}"/>
          </ac:spMkLst>
        </pc:spChg>
        <pc:spChg chg="mod">
          <ac:chgData name="Rochelle Boland" userId="86fda904-73bb-4d24-9ca9-bad9a30c9062" providerId="ADAL" clId="{63399361-9180-40E4-91F8-E0ACC087B61D}" dt="2022-11-23T20:29:16.811" v="2799"/>
          <ac:spMkLst>
            <pc:docMk/>
            <pc:sldMk cId="3351952343" sldId="2147470719"/>
            <ac:spMk id="36" creationId="{FEDAF15F-1B69-72E9-DEEF-6E6D910BE30F}"/>
          </ac:spMkLst>
        </pc:spChg>
        <pc:spChg chg="mod">
          <ac:chgData name="Rochelle Boland" userId="86fda904-73bb-4d24-9ca9-bad9a30c9062" providerId="ADAL" clId="{63399361-9180-40E4-91F8-E0ACC087B61D}" dt="2022-11-23T20:29:16.813" v="2800"/>
          <ac:spMkLst>
            <pc:docMk/>
            <pc:sldMk cId="3351952343" sldId="2147470719"/>
            <ac:spMk id="37" creationId="{4089D3C4-2F71-0BB5-B957-57E826177FDF}"/>
          </ac:spMkLst>
        </pc:spChg>
        <pc:spChg chg="mod">
          <ac:chgData name="Rochelle Boland" userId="86fda904-73bb-4d24-9ca9-bad9a30c9062" providerId="ADAL" clId="{63399361-9180-40E4-91F8-E0ACC087B61D}" dt="2022-11-23T20:29:16.814" v="2801"/>
          <ac:spMkLst>
            <pc:docMk/>
            <pc:sldMk cId="3351952343" sldId="2147470719"/>
            <ac:spMk id="38" creationId="{97ECB010-AA44-89B0-FC62-86307B2E6902}"/>
          </ac:spMkLst>
        </pc:spChg>
        <pc:spChg chg="mod">
          <ac:chgData name="Rochelle Boland" userId="86fda904-73bb-4d24-9ca9-bad9a30c9062" providerId="ADAL" clId="{63399361-9180-40E4-91F8-E0ACC087B61D}" dt="2022-11-23T20:29:16.788" v="2785"/>
          <ac:spMkLst>
            <pc:docMk/>
            <pc:sldMk cId="3351952343" sldId="2147470719"/>
            <ac:spMk id="39" creationId="{58CD3512-6EE0-46DC-9E4F-265A856B2FBC}"/>
          </ac:spMkLst>
        </pc:spChg>
        <pc:spChg chg="mod">
          <ac:chgData name="Rochelle Boland" userId="86fda904-73bb-4d24-9ca9-bad9a30c9062" providerId="ADAL" clId="{63399361-9180-40E4-91F8-E0ACC087B61D}" dt="2022-11-23T20:29:16.789" v="2786"/>
          <ac:spMkLst>
            <pc:docMk/>
            <pc:sldMk cId="3351952343" sldId="2147470719"/>
            <ac:spMk id="40" creationId="{24507BEC-D044-DCB2-FBDB-F4F4E97FDE90}"/>
          </ac:spMkLst>
        </pc:spChg>
        <pc:spChg chg="mod">
          <ac:chgData name="Rochelle Boland" userId="86fda904-73bb-4d24-9ca9-bad9a30c9062" providerId="ADAL" clId="{63399361-9180-40E4-91F8-E0ACC087B61D}" dt="2022-11-23T20:29:16.791" v="2787"/>
          <ac:spMkLst>
            <pc:docMk/>
            <pc:sldMk cId="3351952343" sldId="2147470719"/>
            <ac:spMk id="41" creationId="{A4F63CFB-BC30-2F3C-DFAC-ECE03FAEE04E}"/>
          </ac:spMkLst>
        </pc:spChg>
        <pc:spChg chg="mod">
          <ac:chgData name="Rochelle Boland" userId="86fda904-73bb-4d24-9ca9-bad9a30c9062" providerId="ADAL" clId="{63399361-9180-40E4-91F8-E0ACC087B61D}" dt="2022-11-23T20:29:16.703" v="2763"/>
          <ac:spMkLst>
            <pc:docMk/>
            <pc:sldMk cId="3351952343" sldId="2147470719"/>
            <ac:spMk id="70" creationId="{3858D3D6-BF79-5AFC-DCD0-BFB6FB87C0FF}"/>
          </ac:spMkLst>
        </pc:spChg>
        <pc:spChg chg="mod">
          <ac:chgData name="Rochelle Boland" userId="86fda904-73bb-4d24-9ca9-bad9a30c9062" providerId="ADAL" clId="{63399361-9180-40E4-91F8-E0ACC087B61D}" dt="2022-11-23T20:29:16.816" v="2802"/>
          <ac:spMkLst>
            <pc:docMk/>
            <pc:sldMk cId="3351952343" sldId="2147470719"/>
            <ac:spMk id="71" creationId="{7C1A7235-12D6-50AE-AA4B-4DDB2C66C347}"/>
          </ac:spMkLst>
        </pc:spChg>
        <pc:spChg chg="mod">
          <ac:chgData name="Rochelle Boland" userId="86fda904-73bb-4d24-9ca9-bad9a30c9062" providerId="ADAL" clId="{63399361-9180-40E4-91F8-E0ACC087B61D}" dt="2022-11-23T20:29:16.817" v="2803"/>
          <ac:spMkLst>
            <pc:docMk/>
            <pc:sldMk cId="3351952343" sldId="2147470719"/>
            <ac:spMk id="73" creationId="{A4F2B842-5728-535F-F15E-281B6D026CD5}"/>
          </ac:spMkLst>
        </pc:spChg>
        <pc:spChg chg="mod">
          <ac:chgData name="Rochelle Boland" userId="86fda904-73bb-4d24-9ca9-bad9a30c9062" providerId="ADAL" clId="{63399361-9180-40E4-91F8-E0ACC087B61D}" dt="2022-11-23T20:29:16.820" v="2804"/>
          <ac:spMkLst>
            <pc:docMk/>
            <pc:sldMk cId="3351952343" sldId="2147470719"/>
            <ac:spMk id="74" creationId="{C0DB58BE-5EB9-9A9C-BE83-B82CA99A102C}"/>
          </ac:spMkLst>
        </pc:spChg>
        <pc:spChg chg="mod">
          <ac:chgData name="Rochelle Boland" userId="86fda904-73bb-4d24-9ca9-bad9a30c9062" providerId="ADAL" clId="{63399361-9180-40E4-91F8-E0ACC087B61D}" dt="2022-11-23T20:29:16.822" v="2805"/>
          <ac:spMkLst>
            <pc:docMk/>
            <pc:sldMk cId="3351952343" sldId="2147470719"/>
            <ac:spMk id="75" creationId="{737FFE45-88AA-F7B6-AAD6-73AF055BAC45}"/>
          </ac:spMkLst>
        </pc:spChg>
        <pc:spChg chg="mod">
          <ac:chgData name="Rochelle Boland" userId="86fda904-73bb-4d24-9ca9-bad9a30c9062" providerId="ADAL" clId="{63399361-9180-40E4-91F8-E0ACC087B61D}" dt="2022-11-23T20:29:16.792" v="2788"/>
          <ac:spMkLst>
            <pc:docMk/>
            <pc:sldMk cId="3351952343" sldId="2147470719"/>
            <ac:spMk id="76" creationId="{EF7DFD44-CF82-F985-303C-F7AB8DED31EA}"/>
          </ac:spMkLst>
        </pc:spChg>
        <pc:spChg chg="mod">
          <ac:chgData name="Rochelle Boland" userId="86fda904-73bb-4d24-9ca9-bad9a30c9062" providerId="ADAL" clId="{63399361-9180-40E4-91F8-E0ACC087B61D}" dt="2022-11-23T20:29:16.794" v="2789"/>
          <ac:spMkLst>
            <pc:docMk/>
            <pc:sldMk cId="3351952343" sldId="2147470719"/>
            <ac:spMk id="77" creationId="{8A6A8EFA-A7AC-8521-D973-157E06241985}"/>
          </ac:spMkLst>
        </pc:spChg>
        <pc:spChg chg="mod">
          <ac:chgData name="Rochelle Boland" userId="86fda904-73bb-4d24-9ca9-bad9a30c9062" providerId="ADAL" clId="{63399361-9180-40E4-91F8-E0ACC087B61D}" dt="2022-11-23T20:29:16.824" v="2806"/>
          <ac:spMkLst>
            <pc:docMk/>
            <pc:sldMk cId="3351952343" sldId="2147470719"/>
            <ac:spMk id="84" creationId="{FF90FB7B-9AF9-0F74-A202-B3E59882F3EF}"/>
          </ac:spMkLst>
        </pc:spChg>
        <pc:spChg chg="mod">
          <ac:chgData name="Rochelle Boland" userId="86fda904-73bb-4d24-9ca9-bad9a30c9062" providerId="ADAL" clId="{63399361-9180-40E4-91F8-E0ACC087B61D}" dt="2022-11-23T20:29:16.727" v="2777" actId="948"/>
          <ac:spMkLst>
            <pc:docMk/>
            <pc:sldMk cId="3351952343" sldId="2147470719"/>
            <ac:spMk id="86" creationId="{E24583CB-A570-726B-385C-8888D2A4A411}"/>
          </ac:spMkLst>
        </pc:spChg>
        <pc:spChg chg="mod">
          <ac:chgData name="Rochelle Boland" userId="86fda904-73bb-4d24-9ca9-bad9a30c9062" providerId="ADAL" clId="{63399361-9180-40E4-91F8-E0ACC087B61D}" dt="2022-11-23T20:29:16.728" v="2778" actId="948"/>
          <ac:spMkLst>
            <pc:docMk/>
            <pc:sldMk cId="3351952343" sldId="2147470719"/>
            <ac:spMk id="90" creationId="{88EC9284-AC1E-3159-67B4-738BD7D51F68}"/>
          </ac:spMkLst>
        </pc:spChg>
        <pc:spChg chg="mod">
          <ac:chgData name="Rochelle Boland" userId="86fda904-73bb-4d24-9ca9-bad9a30c9062" providerId="ADAL" clId="{63399361-9180-40E4-91F8-E0ACC087B61D}" dt="2022-11-23T20:29:16.729" v="2779" actId="948"/>
          <ac:spMkLst>
            <pc:docMk/>
            <pc:sldMk cId="3351952343" sldId="2147470719"/>
            <ac:spMk id="94" creationId="{3CDA29DF-2E8D-CEA9-8EE3-A341682F90B1}"/>
          </ac:spMkLst>
        </pc:spChg>
        <pc:spChg chg="mod">
          <ac:chgData name="Rochelle Boland" userId="86fda904-73bb-4d24-9ca9-bad9a30c9062" providerId="ADAL" clId="{63399361-9180-40E4-91F8-E0ACC087B61D}" dt="2022-11-23T20:29:16.689" v="2753"/>
          <ac:spMkLst>
            <pc:docMk/>
            <pc:sldMk cId="3351952343" sldId="2147470719"/>
            <ac:spMk id="96" creationId="{0AA8C371-88D7-CEA6-DC11-2AB6B2C76E18}"/>
          </ac:spMkLst>
        </pc:spChg>
        <pc:spChg chg="mod">
          <ac:chgData name="Rochelle Boland" userId="86fda904-73bb-4d24-9ca9-bad9a30c9062" providerId="ADAL" clId="{63399361-9180-40E4-91F8-E0ACC087B61D}" dt="2022-11-23T20:29:16.692" v="2755"/>
          <ac:spMkLst>
            <pc:docMk/>
            <pc:sldMk cId="3351952343" sldId="2147470719"/>
            <ac:spMk id="98" creationId="{B9AFAFBF-C93E-BF78-1A21-AFFF79041A2A}"/>
          </ac:spMkLst>
        </pc:spChg>
        <pc:spChg chg="mod">
          <ac:chgData name="Rochelle Boland" userId="86fda904-73bb-4d24-9ca9-bad9a30c9062" providerId="ADAL" clId="{63399361-9180-40E4-91F8-E0ACC087B61D}" dt="2022-11-23T20:29:16.688" v="2752"/>
          <ac:spMkLst>
            <pc:docMk/>
            <pc:sldMk cId="3351952343" sldId="2147470719"/>
            <ac:spMk id="100" creationId="{5D283F83-D144-59A4-1F74-EE0457B306FF}"/>
          </ac:spMkLst>
        </pc:spChg>
        <pc:spChg chg="mod">
          <ac:chgData name="Rochelle Boland" userId="86fda904-73bb-4d24-9ca9-bad9a30c9062" providerId="ADAL" clId="{63399361-9180-40E4-91F8-E0ACC087B61D}" dt="2022-11-23T20:29:16.691" v="2754"/>
          <ac:spMkLst>
            <pc:docMk/>
            <pc:sldMk cId="3351952343" sldId="2147470719"/>
            <ac:spMk id="102" creationId="{9CC52A77-8806-9FDB-A55C-844BE55985CE}"/>
          </ac:spMkLst>
        </pc:spChg>
        <pc:spChg chg="mod">
          <ac:chgData name="Rochelle Boland" userId="86fda904-73bb-4d24-9ca9-bad9a30c9062" providerId="ADAL" clId="{63399361-9180-40E4-91F8-E0ACC087B61D}" dt="2022-11-23T20:29:16.726" v="2776" actId="948"/>
          <ac:spMkLst>
            <pc:docMk/>
            <pc:sldMk cId="3351952343" sldId="2147470719"/>
            <ac:spMk id="103" creationId="{5D34068C-75DA-C260-0DBA-68B8AF0A5B2E}"/>
          </ac:spMkLst>
        </pc:spChg>
        <pc:spChg chg="mod">
          <ac:chgData name="Rochelle Boland" userId="86fda904-73bb-4d24-9ca9-bad9a30c9062" providerId="ADAL" clId="{63399361-9180-40E4-91F8-E0ACC087B61D}" dt="2022-11-23T20:29:16.694" v="2756"/>
          <ac:spMkLst>
            <pc:docMk/>
            <pc:sldMk cId="3351952343" sldId="2147470719"/>
            <ac:spMk id="121" creationId="{B523D951-0344-887B-7BC4-E00785A5778C}"/>
          </ac:spMkLst>
        </pc:spChg>
        <pc:spChg chg="mod">
          <ac:chgData name="Rochelle Boland" userId="86fda904-73bb-4d24-9ca9-bad9a30c9062" providerId="ADAL" clId="{63399361-9180-40E4-91F8-E0ACC087B61D}" dt="2022-11-23T20:29:16.705" v="2765"/>
          <ac:spMkLst>
            <pc:docMk/>
            <pc:sldMk cId="3351952343" sldId="2147470719"/>
            <ac:spMk id="129" creationId="{BBB06B2F-924A-00AC-EA50-34979FC47456}"/>
          </ac:spMkLst>
        </pc:spChg>
        <pc:spChg chg="mod">
          <ac:chgData name="Rochelle Boland" userId="86fda904-73bb-4d24-9ca9-bad9a30c9062" providerId="ADAL" clId="{63399361-9180-40E4-91F8-E0ACC087B61D}" dt="2022-11-23T20:29:16.704" v="2764"/>
          <ac:spMkLst>
            <pc:docMk/>
            <pc:sldMk cId="3351952343" sldId="2147470719"/>
            <ac:spMk id="131" creationId="{269FCD58-AB6F-6AC1-AB5D-20CA1CE5A906}"/>
          </ac:spMkLst>
        </pc:spChg>
        <pc:spChg chg="mod">
          <ac:chgData name="Rochelle Boland" userId="86fda904-73bb-4d24-9ca9-bad9a30c9062" providerId="ADAL" clId="{63399361-9180-40E4-91F8-E0ACC087B61D}" dt="2022-11-23T20:29:16.702" v="2762"/>
          <ac:spMkLst>
            <pc:docMk/>
            <pc:sldMk cId="3351952343" sldId="2147470719"/>
            <ac:spMk id="133" creationId="{F98D86EB-6C3B-811A-A5B6-61AE5FF4B233}"/>
          </ac:spMkLst>
        </pc:spChg>
        <pc:spChg chg="mod">
          <ac:chgData name="Rochelle Boland" userId="86fda904-73bb-4d24-9ca9-bad9a30c9062" providerId="ADAL" clId="{63399361-9180-40E4-91F8-E0ACC087B61D}" dt="2022-11-23T20:29:16.698" v="2759"/>
          <ac:spMkLst>
            <pc:docMk/>
            <pc:sldMk cId="3351952343" sldId="2147470719"/>
            <ac:spMk id="135" creationId="{581ED640-C3DF-AB23-DA77-CD4F58D81D3C}"/>
          </ac:spMkLst>
        </pc:spChg>
        <pc:spChg chg="mod">
          <ac:chgData name="Rochelle Boland" userId="86fda904-73bb-4d24-9ca9-bad9a30c9062" providerId="ADAL" clId="{63399361-9180-40E4-91F8-E0ACC087B61D}" dt="2022-11-23T20:29:16.699" v="2760"/>
          <ac:spMkLst>
            <pc:docMk/>
            <pc:sldMk cId="3351952343" sldId="2147470719"/>
            <ac:spMk id="137" creationId="{29E2AF7A-0718-EF09-DCF1-375589496F0C}"/>
          </ac:spMkLst>
        </pc:spChg>
        <pc:spChg chg="mod">
          <ac:chgData name="Rochelle Boland" userId="86fda904-73bb-4d24-9ca9-bad9a30c9062" providerId="ADAL" clId="{63399361-9180-40E4-91F8-E0ACC087B61D}" dt="2022-11-23T20:29:16.707" v="2767"/>
          <ac:spMkLst>
            <pc:docMk/>
            <pc:sldMk cId="3351952343" sldId="2147470719"/>
            <ac:spMk id="139" creationId="{0C6B50F8-CB43-DF2F-DFEC-8C6F298C81A0}"/>
          </ac:spMkLst>
        </pc:spChg>
        <pc:spChg chg="mod">
          <ac:chgData name="Rochelle Boland" userId="86fda904-73bb-4d24-9ca9-bad9a30c9062" providerId="ADAL" clId="{63399361-9180-40E4-91F8-E0ACC087B61D}" dt="2022-11-23T20:27:36.988" v="1955"/>
          <ac:spMkLst>
            <pc:docMk/>
            <pc:sldMk cId="3351952343" sldId="2147470719"/>
            <ac:spMk id="153" creationId="{3E5E9062-877C-9837-25BD-5FEFBC071AFC}"/>
          </ac:spMkLst>
        </pc:spChg>
        <pc:spChg chg="mod">
          <ac:chgData name="Rochelle Boland" userId="86fda904-73bb-4d24-9ca9-bad9a30c9062" providerId="ADAL" clId="{63399361-9180-40E4-91F8-E0ACC087B61D}" dt="2022-11-23T20:29:16.708" v="2768"/>
          <ac:spMkLst>
            <pc:docMk/>
            <pc:sldMk cId="3351952343" sldId="2147470719"/>
            <ac:spMk id="154" creationId="{5F715885-C7D2-C4D7-D347-B5CFB709C757}"/>
          </ac:spMkLst>
        </pc:spChg>
        <pc:spChg chg="mod">
          <ac:chgData name="Rochelle Boland" userId="86fda904-73bb-4d24-9ca9-bad9a30c9062" providerId="ADAL" clId="{63399361-9180-40E4-91F8-E0ACC087B61D}" dt="2022-11-23T20:27:45.089" v="2144"/>
          <ac:spMkLst>
            <pc:docMk/>
            <pc:sldMk cId="3351952343" sldId="2147470719"/>
            <ac:spMk id="156" creationId="{E63CE8BA-02A2-2BA5-1120-1B8ED54E42A3}"/>
          </ac:spMkLst>
        </pc:spChg>
        <pc:spChg chg="mod">
          <ac:chgData name="Rochelle Boland" userId="86fda904-73bb-4d24-9ca9-bad9a30c9062" providerId="ADAL" clId="{63399361-9180-40E4-91F8-E0ACC087B61D}" dt="2022-11-23T20:27:52.666" v="2205"/>
          <ac:spMkLst>
            <pc:docMk/>
            <pc:sldMk cId="3351952343" sldId="2147470719"/>
            <ac:spMk id="157" creationId="{F7C78AB7-4635-F0EA-03D7-09F6B9EE48D4}"/>
          </ac:spMkLst>
        </pc:spChg>
        <pc:spChg chg="mod">
          <ac:chgData name="Rochelle Boland" userId="86fda904-73bb-4d24-9ca9-bad9a30c9062" providerId="ADAL" clId="{63399361-9180-40E4-91F8-E0ACC087B61D}" dt="2022-11-23T20:29:16.711" v="2770"/>
          <ac:spMkLst>
            <pc:docMk/>
            <pc:sldMk cId="3351952343" sldId="2147470719"/>
            <ac:spMk id="158" creationId="{A135FD58-A7D8-E757-4CD1-CDDB51BF658A}"/>
          </ac:spMkLst>
        </pc:spChg>
        <pc:spChg chg="mod">
          <ac:chgData name="Rochelle Boland" userId="86fda904-73bb-4d24-9ca9-bad9a30c9062" providerId="ADAL" clId="{63399361-9180-40E4-91F8-E0ACC087B61D}" dt="2022-11-23T20:27:59.008" v="2266"/>
          <ac:spMkLst>
            <pc:docMk/>
            <pc:sldMk cId="3351952343" sldId="2147470719"/>
            <ac:spMk id="160" creationId="{8799801F-6BA3-8E07-69E1-4520157F3173}"/>
          </ac:spMkLst>
        </pc:spChg>
        <pc:spChg chg="mod">
          <ac:chgData name="Rochelle Boland" userId="86fda904-73bb-4d24-9ca9-bad9a30c9062" providerId="ADAL" clId="{63399361-9180-40E4-91F8-E0ACC087B61D}" dt="2022-11-23T20:28:07.078" v="2327"/>
          <ac:spMkLst>
            <pc:docMk/>
            <pc:sldMk cId="3351952343" sldId="2147470719"/>
            <ac:spMk id="161" creationId="{43601C92-DA0D-F34C-330E-A1E9678C9887}"/>
          </ac:spMkLst>
        </pc:spChg>
        <pc:spChg chg="mod">
          <ac:chgData name="Rochelle Boland" userId="86fda904-73bb-4d24-9ca9-bad9a30c9062" providerId="ADAL" clId="{63399361-9180-40E4-91F8-E0ACC087B61D}" dt="2022-11-23T20:29:16.712" v="2771"/>
          <ac:spMkLst>
            <pc:docMk/>
            <pc:sldMk cId="3351952343" sldId="2147470719"/>
            <ac:spMk id="162" creationId="{9C92B05D-58FC-BF5D-5D11-8CC72A75B1DE}"/>
          </ac:spMkLst>
        </pc:spChg>
        <pc:spChg chg="mod">
          <ac:chgData name="Rochelle Boland" userId="86fda904-73bb-4d24-9ca9-bad9a30c9062" providerId="ADAL" clId="{63399361-9180-40E4-91F8-E0ACC087B61D}" dt="2022-11-23T20:29:16.713" v="2772"/>
          <ac:spMkLst>
            <pc:docMk/>
            <pc:sldMk cId="3351952343" sldId="2147470719"/>
            <ac:spMk id="164" creationId="{D0EC4F9A-FF37-64EC-D51B-A9F3D359F892}"/>
          </ac:spMkLst>
        </pc:spChg>
        <pc:spChg chg="mod">
          <ac:chgData name="Rochelle Boland" userId="86fda904-73bb-4d24-9ca9-bad9a30c9062" providerId="ADAL" clId="{63399361-9180-40E4-91F8-E0ACC087B61D}" dt="2022-11-23T20:29:16.717" v="2774"/>
          <ac:spMkLst>
            <pc:docMk/>
            <pc:sldMk cId="3351952343" sldId="2147470719"/>
            <ac:spMk id="167" creationId="{271117FA-B59D-5361-85E4-0B01CD920EEC}"/>
          </ac:spMkLst>
        </pc:spChg>
        <pc:spChg chg="mod">
          <ac:chgData name="Rochelle Boland" userId="86fda904-73bb-4d24-9ca9-bad9a30c9062" providerId="ADAL" clId="{63399361-9180-40E4-91F8-E0ACC087B61D}" dt="2022-11-23T20:29:16.715" v="2773"/>
          <ac:spMkLst>
            <pc:docMk/>
            <pc:sldMk cId="3351952343" sldId="2147470719"/>
            <ac:spMk id="169" creationId="{63D01A53-4065-EFF2-F51A-D62E493E3134}"/>
          </ac:spMkLst>
        </pc:spChg>
        <pc:spChg chg="mod">
          <ac:chgData name="Rochelle Boland" userId="86fda904-73bb-4d24-9ca9-bad9a30c9062" providerId="ADAL" clId="{63399361-9180-40E4-91F8-E0ACC087B61D}" dt="2022-11-23T20:28:49.115" v="2601" actId="16931"/>
          <ac:spMkLst>
            <pc:docMk/>
            <pc:sldMk cId="3351952343" sldId="2147470719"/>
            <ac:spMk id="189" creationId="{40C5FED7-D4FB-2AF7-2CD9-DAC5758825B8}"/>
          </ac:spMkLst>
        </pc:spChg>
        <pc:spChg chg="mod">
          <ac:chgData name="Rochelle Boland" userId="86fda904-73bb-4d24-9ca9-bad9a30c9062" providerId="ADAL" clId="{63399361-9180-40E4-91F8-E0ACC087B61D}" dt="2022-11-23T20:29:03.616" v="2723" actId="16931"/>
          <ac:spMkLst>
            <pc:docMk/>
            <pc:sldMk cId="3351952343" sldId="2147470719"/>
            <ac:spMk id="190" creationId="{59159D1F-C90F-3568-FA69-D6BB1A3EA913}"/>
          </ac:spMkLst>
        </pc:spChg>
        <pc:spChg chg="mod">
          <ac:chgData name="Rochelle Boland" userId="86fda904-73bb-4d24-9ca9-bad9a30c9062" providerId="ADAL" clId="{63399361-9180-40E4-91F8-E0ACC087B61D}" dt="2022-11-23T20:28:56.345" v="2662" actId="16931"/>
          <ac:spMkLst>
            <pc:docMk/>
            <pc:sldMk cId="3351952343" sldId="2147470719"/>
            <ac:spMk id="191" creationId="{BF78D823-1DDC-4F1A-AB3E-845A81A559D4}"/>
          </ac:spMkLst>
        </pc:spChg>
        <pc:spChg chg="mod">
          <ac:chgData name="Rochelle Boland" userId="86fda904-73bb-4d24-9ca9-bad9a30c9062" providerId="ADAL" clId="{63399361-9180-40E4-91F8-E0ACC087B61D}" dt="2022-11-23T20:29:16.785" v="2784" actId="16931"/>
          <ac:spMkLst>
            <pc:docMk/>
            <pc:sldMk cId="3351952343" sldId="2147470719"/>
            <ac:spMk id="192" creationId="{BDA66F22-9FEA-5381-E33C-C9BB77BA2940}"/>
          </ac:spMkLst>
        </pc:spChg>
        <pc:graphicFrameChg chg="mod">
          <ac:chgData name="Rochelle Boland" userId="86fda904-73bb-4d24-9ca9-bad9a30c9062" providerId="ADAL" clId="{63399361-9180-40E4-91F8-E0ACC087B61D}" dt="2022-11-23T20:29:16.852" v="2810"/>
          <ac:graphicFrameMkLst>
            <pc:docMk/>
            <pc:sldMk cId="3351952343" sldId="2147470719"/>
            <ac:graphicFrameMk id="4" creationId="{E78564C1-A54D-7554-3BAC-98448A3D944B}"/>
          </ac:graphicFrameMkLst>
        </pc:graphicFrameChg>
      </pc:sldChg>
      <pc:sldChg chg="delSp mod">
        <pc:chgData name="Rochelle Boland" userId="86fda904-73bb-4d24-9ca9-bad9a30c9062" providerId="ADAL" clId="{63399361-9180-40E4-91F8-E0ACC087B61D}" dt="2022-11-23T20:26:00.229" v="1950" actId="478"/>
        <pc:sldMkLst>
          <pc:docMk/>
          <pc:sldMk cId="1299015402" sldId="2147470932"/>
        </pc:sldMkLst>
        <pc:spChg chg="del">
          <ac:chgData name="Rochelle Boland" userId="86fda904-73bb-4d24-9ca9-bad9a30c9062" providerId="ADAL" clId="{63399361-9180-40E4-91F8-E0ACC087B61D}" dt="2022-11-23T20:25:58.172" v="1949" actId="478"/>
          <ac:spMkLst>
            <pc:docMk/>
            <pc:sldMk cId="1299015402" sldId="2147470932"/>
            <ac:spMk id="6" creationId="{B250E452-EC80-9E16-9ECC-7D9840DFF604}"/>
          </ac:spMkLst>
        </pc:spChg>
        <pc:spChg chg="del">
          <ac:chgData name="Rochelle Boland" userId="86fda904-73bb-4d24-9ca9-bad9a30c9062" providerId="ADAL" clId="{63399361-9180-40E4-91F8-E0ACC087B61D}" dt="2022-11-23T20:26:00.229" v="1950" actId="478"/>
          <ac:spMkLst>
            <pc:docMk/>
            <pc:sldMk cId="1299015402" sldId="2147470932"/>
            <ac:spMk id="7" creationId="{39A252C4-FAE6-3893-6AFC-F1962DCF914D}"/>
          </ac:spMkLst>
        </pc:spChg>
      </pc:sldChg>
      <pc:sldChg chg="modSp mod">
        <pc:chgData name="Rochelle Boland" userId="86fda904-73bb-4d24-9ca9-bad9a30c9062" providerId="ADAL" clId="{63399361-9180-40E4-91F8-E0ACC087B61D}" dt="2022-11-23T20:33:51.769" v="2900"/>
        <pc:sldMkLst>
          <pc:docMk/>
          <pc:sldMk cId="4250436242" sldId="2147471203"/>
        </pc:sldMkLst>
        <pc:spChg chg="mod">
          <ac:chgData name="Rochelle Boland" userId="86fda904-73bb-4d24-9ca9-bad9a30c9062" providerId="ADAL" clId="{63399361-9180-40E4-91F8-E0ACC087B61D}" dt="2022-11-23T20:33:51.769" v="2900"/>
          <ac:spMkLst>
            <pc:docMk/>
            <pc:sldMk cId="4250436242" sldId="2147471203"/>
            <ac:spMk id="36" creationId="{1DB000CE-A22D-49E4-8266-2372FF7A8D7F}"/>
          </ac:spMkLst>
        </pc:spChg>
      </pc:sldChg>
      <pc:sldChg chg="modSp mod">
        <pc:chgData name="Rochelle Boland" userId="86fda904-73bb-4d24-9ca9-bad9a30c9062" providerId="ADAL" clId="{63399361-9180-40E4-91F8-E0ACC087B61D}" dt="2022-11-23T20:33:51.769" v="2900"/>
        <pc:sldMkLst>
          <pc:docMk/>
          <pc:sldMk cId="792253551" sldId="2147471258"/>
        </pc:sldMkLst>
        <pc:spChg chg="mod">
          <ac:chgData name="Rochelle Boland" userId="86fda904-73bb-4d24-9ca9-bad9a30c9062" providerId="ADAL" clId="{63399361-9180-40E4-91F8-E0ACC087B61D}" dt="2022-11-23T20:33:51.769" v="2900"/>
          <ac:spMkLst>
            <pc:docMk/>
            <pc:sldMk cId="792253551" sldId="2147471258"/>
            <ac:spMk id="37" creationId="{19AAF0F4-44F0-4DA2-825F-0524B22AF350}"/>
          </ac:spMkLst>
        </pc:spChg>
      </pc:sldChg>
      <pc:sldChg chg="modSp mod">
        <pc:chgData name="Rochelle Boland" userId="86fda904-73bb-4d24-9ca9-bad9a30c9062" providerId="ADAL" clId="{63399361-9180-40E4-91F8-E0ACC087B61D}" dt="2022-11-23T20:34:12.028" v="2903" actId="20577"/>
        <pc:sldMkLst>
          <pc:docMk/>
          <pc:sldMk cId="1746672654" sldId="2147471265"/>
        </pc:sldMkLst>
        <pc:spChg chg="mod">
          <ac:chgData name="Rochelle Boland" userId="86fda904-73bb-4d24-9ca9-bad9a30c9062" providerId="ADAL" clId="{63399361-9180-40E4-91F8-E0ACC087B61D}" dt="2022-11-23T20:34:12.028" v="2903" actId="20577"/>
          <ac:spMkLst>
            <pc:docMk/>
            <pc:sldMk cId="1746672654" sldId="2147471265"/>
            <ac:spMk id="85" creationId="{606600D4-7758-53DF-6EE9-DE9B44F6FCC2}"/>
          </ac:spMkLst>
        </pc:spChg>
      </pc:sldChg>
      <pc:sldChg chg="modSp mod">
        <pc:chgData name="Rochelle Boland" userId="86fda904-73bb-4d24-9ca9-bad9a30c9062" providerId="ADAL" clId="{63399361-9180-40E4-91F8-E0ACC087B61D}" dt="2022-11-23T20:33:51.769" v="2900"/>
        <pc:sldMkLst>
          <pc:docMk/>
          <pc:sldMk cId="3367227799" sldId="2147471280"/>
        </pc:sldMkLst>
        <pc:spChg chg="mod">
          <ac:chgData name="Rochelle Boland" userId="86fda904-73bb-4d24-9ca9-bad9a30c9062" providerId="ADAL" clId="{63399361-9180-40E4-91F8-E0ACC087B61D}" dt="2022-11-23T20:33:51.769" v="2900"/>
          <ac:spMkLst>
            <pc:docMk/>
            <pc:sldMk cId="3367227799" sldId="2147471280"/>
            <ac:spMk id="36" creationId="{1DB000CE-A22D-49E4-8266-2372FF7A8D7F}"/>
          </ac:spMkLst>
        </pc:spChg>
      </pc:sldChg>
      <pc:sldChg chg="modSp mod">
        <pc:chgData name="Rochelle Boland" userId="86fda904-73bb-4d24-9ca9-bad9a30c9062" providerId="ADAL" clId="{63399361-9180-40E4-91F8-E0ACC087B61D}" dt="2022-11-23T20:16:13.937" v="437" actId="20577"/>
        <pc:sldMkLst>
          <pc:docMk/>
          <pc:sldMk cId="1273509954" sldId="2147471304"/>
        </pc:sldMkLst>
        <pc:graphicFrameChg chg="modGraphic">
          <ac:chgData name="Rochelle Boland" userId="86fda904-73bb-4d24-9ca9-bad9a30c9062" providerId="ADAL" clId="{63399361-9180-40E4-91F8-E0ACC087B61D}" dt="2022-11-23T20:16:13.937" v="437" actId="20577"/>
          <ac:graphicFrameMkLst>
            <pc:docMk/>
            <pc:sldMk cId="1273509954" sldId="2147471304"/>
            <ac:graphicFrameMk id="33" creationId="{486D3427-55D1-F583-AEB8-F71E811D9464}"/>
          </ac:graphicFrameMkLst>
        </pc:graphicFrameChg>
      </pc:sldChg>
      <pc:sldChg chg="delSp modSp mod">
        <pc:chgData name="Rochelle Boland" userId="86fda904-73bb-4d24-9ca9-bad9a30c9062" providerId="ADAL" clId="{63399361-9180-40E4-91F8-E0ACC087B61D}" dt="2022-11-23T20:14:12.224" v="424" actId="478"/>
        <pc:sldMkLst>
          <pc:docMk/>
          <pc:sldMk cId="1170383945" sldId="2147471308"/>
        </pc:sldMkLst>
        <pc:spChg chg="del">
          <ac:chgData name="Rochelle Boland" userId="86fda904-73bb-4d24-9ca9-bad9a30c9062" providerId="ADAL" clId="{63399361-9180-40E4-91F8-E0ACC087B61D}" dt="2022-11-23T20:14:12.224" v="424" actId="478"/>
          <ac:spMkLst>
            <pc:docMk/>
            <pc:sldMk cId="1170383945" sldId="2147471308"/>
            <ac:spMk id="3" creationId="{CA582DE2-D22B-09B1-4B37-C83E8482D1D1}"/>
          </ac:spMkLst>
        </pc:spChg>
        <pc:spChg chg="mod">
          <ac:chgData name="Rochelle Boland" userId="86fda904-73bb-4d24-9ca9-bad9a30c9062" providerId="ADAL" clId="{63399361-9180-40E4-91F8-E0ACC087B61D}" dt="2022-11-23T20:14:08.038" v="423" actId="20577"/>
          <ac:spMkLst>
            <pc:docMk/>
            <pc:sldMk cId="1170383945" sldId="2147471308"/>
            <ac:spMk id="10" creationId="{42160A0A-4442-4532-8BF8-DDD513DFCABB}"/>
          </ac:spMkLst>
        </pc:spChg>
      </pc:sldChg>
      <pc:sldChg chg="modSp mod">
        <pc:chgData name="Rochelle Boland" userId="86fda904-73bb-4d24-9ca9-bad9a30c9062" providerId="ADAL" clId="{63399361-9180-40E4-91F8-E0ACC087B61D}" dt="2022-11-23T20:20:55.396" v="744" actId="20577"/>
        <pc:sldMkLst>
          <pc:docMk/>
          <pc:sldMk cId="1390400812" sldId="2147471411"/>
        </pc:sldMkLst>
        <pc:spChg chg="mod">
          <ac:chgData name="Rochelle Boland" userId="86fda904-73bb-4d24-9ca9-bad9a30c9062" providerId="ADAL" clId="{63399361-9180-40E4-91F8-E0ACC087B61D}" dt="2022-11-23T20:20:55.396" v="744" actId="20577"/>
          <ac:spMkLst>
            <pc:docMk/>
            <pc:sldMk cId="1390400812" sldId="2147471411"/>
            <ac:spMk id="10" creationId="{3BE2B2A9-8BB0-EFD4-4B8B-D4DD1030507F}"/>
          </ac:spMkLst>
        </pc:spChg>
      </pc:sldChg>
      <pc:sldChg chg="modSp mod">
        <pc:chgData name="Rochelle Boland" userId="86fda904-73bb-4d24-9ca9-bad9a30c9062" providerId="ADAL" clId="{63399361-9180-40E4-91F8-E0ACC087B61D}" dt="2022-11-23T20:33:51.769" v="2900"/>
        <pc:sldMkLst>
          <pc:docMk/>
          <pc:sldMk cId="4064396523" sldId="2147471422"/>
        </pc:sldMkLst>
        <pc:spChg chg="mod">
          <ac:chgData name="Rochelle Boland" userId="86fda904-73bb-4d24-9ca9-bad9a30c9062" providerId="ADAL" clId="{63399361-9180-40E4-91F8-E0ACC087B61D}" dt="2022-11-23T20:33:51.769" v="2900"/>
          <ac:spMkLst>
            <pc:docMk/>
            <pc:sldMk cId="4064396523" sldId="2147471422"/>
            <ac:spMk id="36" creationId="{1DB000CE-A22D-49E4-8266-2372FF7A8D7F}"/>
          </ac:spMkLst>
        </pc:spChg>
      </pc:sldChg>
      <pc:sldChg chg="modSp mod">
        <pc:chgData name="Rochelle Boland" userId="86fda904-73bb-4d24-9ca9-bad9a30c9062" providerId="ADAL" clId="{63399361-9180-40E4-91F8-E0ACC087B61D}" dt="2022-11-23T20:34:29.541" v="2904" actId="20577"/>
        <pc:sldMkLst>
          <pc:docMk/>
          <pc:sldMk cId="3025798254" sldId="2147471454"/>
        </pc:sldMkLst>
        <pc:spChg chg="mod">
          <ac:chgData name="Rochelle Boland" userId="86fda904-73bb-4d24-9ca9-bad9a30c9062" providerId="ADAL" clId="{63399361-9180-40E4-91F8-E0ACC087B61D}" dt="2022-11-23T20:34:29.541" v="2904" actId="20577"/>
          <ac:spMkLst>
            <pc:docMk/>
            <pc:sldMk cId="3025798254" sldId="2147471454"/>
            <ac:spMk id="38" creationId="{DA0F549F-F58E-32BA-F999-6C0EEF36F129}"/>
          </ac:spMkLst>
        </pc:spChg>
      </pc:sldChg>
      <pc:sldChg chg="addSp delSp modSp mod">
        <pc:chgData name="Rochelle Boland" userId="86fda904-73bb-4d24-9ca9-bad9a30c9062" providerId="ADAL" clId="{63399361-9180-40E4-91F8-E0ACC087B61D}" dt="2022-11-23T20:25:33.486" v="1948"/>
        <pc:sldMkLst>
          <pc:docMk/>
          <pc:sldMk cId="2028211501" sldId="2147471456"/>
        </pc:sldMkLst>
        <pc:spChg chg="mod">
          <ac:chgData name="Rochelle Boland" userId="86fda904-73bb-4d24-9ca9-bad9a30c9062" providerId="ADAL" clId="{63399361-9180-40E4-91F8-E0ACC087B61D}" dt="2022-11-23T20:25:32.548" v="1725" actId="948"/>
          <ac:spMkLst>
            <pc:docMk/>
            <pc:sldMk cId="2028211501" sldId="2147471456"/>
            <ac:spMk id="2" creationId="{0FA0D718-E49E-0CBB-C450-E246864E2E3B}"/>
          </ac:spMkLst>
        </pc:spChg>
        <pc:spChg chg="del">
          <ac:chgData name="Rochelle Boland" userId="86fda904-73bb-4d24-9ca9-bad9a30c9062" providerId="ADAL" clId="{63399361-9180-40E4-91F8-E0ACC087B61D}" dt="2022-11-23T20:25:29.747" v="1367" actId="478"/>
          <ac:spMkLst>
            <pc:docMk/>
            <pc:sldMk cId="2028211501" sldId="2147471456"/>
            <ac:spMk id="3" creationId="{BCCFB795-8D38-0F07-C1DC-B56EDC858B5F}"/>
          </ac:spMkLst>
        </pc:spChg>
        <pc:spChg chg="del">
          <ac:chgData name="Rochelle Boland" userId="86fda904-73bb-4d24-9ca9-bad9a30c9062" providerId="ADAL" clId="{63399361-9180-40E4-91F8-E0ACC087B61D}" dt="2022-11-23T20:25:26.995" v="1232"/>
          <ac:spMkLst>
            <pc:docMk/>
            <pc:sldMk cId="2028211501" sldId="2147471456"/>
            <ac:spMk id="6" creationId="{3BAF453F-B21D-63B5-3192-281B7C51FE7D}"/>
          </ac:spMkLst>
        </pc:spChg>
        <pc:spChg chg="del">
          <ac:chgData name="Rochelle Boland" userId="86fda904-73bb-4d24-9ca9-bad9a30c9062" providerId="ADAL" clId="{63399361-9180-40E4-91F8-E0ACC087B61D}" dt="2022-11-23T20:25:26.994" v="1231"/>
          <ac:spMkLst>
            <pc:docMk/>
            <pc:sldMk cId="2028211501" sldId="2147471456"/>
            <ac:spMk id="7" creationId="{632CD482-3AE1-AEBE-DC73-92F6B4A7EB2D}"/>
          </ac:spMkLst>
        </pc:spChg>
        <pc:spChg chg="del">
          <ac:chgData name="Rochelle Boland" userId="86fda904-73bb-4d24-9ca9-bad9a30c9062" providerId="ADAL" clId="{63399361-9180-40E4-91F8-E0ACC087B61D}" dt="2022-11-23T20:25:26.998" v="1237"/>
          <ac:spMkLst>
            <pc:docMk/>
            <pc:sldMk cId="2028211501" sldId="2147471456"/>
            <ac:spMk id="8" creationId="{A814811D-78B3-3584-01EC-1FFEC0D5A2D5}"/>
          </ac:spMkLst>
        </pc:spChg>
        <pc:spChg chg="del">
          <ac:chgData name="Rochelle Boland" userId="86fda904-73bb-4d24-9ca9-bad9a30c9062" providerId="ADAL" clId="{63399361-9180-40E4-91F8-E0ACC087B61D}" dt="2022-11-23T20:25:26.997" v="1236"/>
          <ac:spMkLst>
            <pc:docMk/>
            <pc:sldMk cId="2028211501" sldId="2147471456"/>
            <ac:spMk id="9" creationId="{F070FB86-CE32-35E4-7641-B55A82E6D854}"/>
          </ac:spMkLst>
        </pc:spChg>
        <pc:spChg chg="del">
          <ac:chgData name="Rochelle Boland" userId="86fda904-73bb-4d24-9ca9-bad9a30c9062" providerId="ADAL" clId="{63399361-9180-40E4-91F8-E0ACC087B61D}" dt="2022-11-23T20:25:26.997" v="1235"/>
          <ac:spMkLst>
            <pc:docMk/>
            <pc:sldMk cId="2028211501" sldId="2147471456"/>
            <ac:spMk id="10" creationId="{2F63E0E2-1094-1230-BE7A-933B1AABB6EE}"/>
          </ac:spMkLst>
        </pc:spChg>
        <pc:spChg chg="del">
          <ac:chgData name="Rochelle Boland" userId="86fda904-73bb-4d24-9ca9-bad9a30c9062" providerId="ADAL" clId="{63399361-9180-40E4-91F8-E0ACC087B61D}" dt="2022-11-23T20:25:26.996" v="1234"/>
          <ac:spMkLst>
            <pc:docMk/>
            <pc:sldMk cId="2028211501" sldId="2147471456"/>
            <ac:spMk id="11" creationId="{3F90B5D8-1075-B31A-256A-2D4FFFDB6D7C}"/>
          </ac:spMkLst>
        </pc:spChg>
        <pc:spChg chg="del">
          <ac:chgData name="Rochelle Boland" userId="86fda904-73bb-4d24-9ca9-bad9a30c9062" providerId="ADAL" clId="{63399361-9180-40E4-91F8-E0ACC087B61D}" dt="2022-11-23T20:25:26.995" v="1233"/>
          <ac:spMkLst>
            <pc:docMk/>
            <pc:sldMk cId="2028211501" sldId="2147471456"/>
            <ac:spMk id="12" creationId="{CBE795A9-F446-B523-E210-A9D8DBECE72C}"/>
          </ac:spMkLst>
        </pc:spChg>
        <pc:spChg chg="add del mod modVis">
          <ac:chgData name="Rochelle Boland" userId="86fda904-73bb-4d24-9ca9-bad9a30c9062" providerId="ADAL" clId="{63399361-9180-40E4-91F8-E0ACC087B61D}" dt="2022-11-23T20:25:27.261" v="1364"/>
          <ac:spMkLst>
            <pc:docMk/>
            <pc:sldMk cId="2028211501" sldId="2147471456"/>
            <ac:spMk id="15" creationId="{4E117BC0-403A-312E-9117-8C710D98C2A4}"/>
          </ac:spMkLst>
        </pc:spChg>
        <pc:spChg chg="add mod">
          <ac:chgData name="Rochelle Boland" userId="86fda904-73bb-4d24-9ca9-bad9a30c9062" providerId="ADAL" clId="{63399361-9180-40E4-91F8-E0ACC087B61D}" dt="2022-11-23T20:25:31.061" v="1368"/>
          <ac:spMkLst>
            <pc:docMk/>
            <pc:sldMk cId="2028211501" sldId="2147471456"/>
            <ac:spMk id="17" creationId="{941E1ACC-21EF-58BB-BF32-DC1C07A95552}"/>
          </ac:spMkLst>
        </pc:spChg>
        <pc:spChg chg="add mod replST">
          <ac:chgData name="Rochelle Boland" userId="86fda904-73bb-4d24-9ca9-bad9a30c9062" providerId="ADAL" clId="{63399361-9180-40E4-91F8-E0ACC087B61D}" dt="2022-11-23T20:25:33.282" v="1937"/>
          <ac:spMkLst>
            <pc:docMk/>
            <pc:sldMk cId="2028211501" sldId="2147471456"/>
            <ac:spMk id="18" creationId="{0A6CB3F1-B89B-6493-33EB-10E355ED41C1}"/>
          </ac:spMkLst>
        </pc:spChg>
        <pc:spChg chg="add mod replST">
          <ac:chgData name="Rochelle Boland" userId="86fda904-73bb-4d24-9ca9-bad9a30c9062" providerId="ADAL" clId="{63399361-9180-40E4-91F8-E0ACC087B61D}" dt="2022-11-23T20:25:33.305" v="1940"/>
          <ac:spMkLst>
            <pc:docMk/>
            <pc:sldMk cId="2028211501" sldId="2147471456"/>
            <ac:spMk id="20" creationId="{0F956554-99CC-3839-A34D-3A1672B55B59}"/>
          </ac:spMkLst>
        </pc:spChg>
        <pc:spChg chg="add mod replST">
          <ac:chgData name="Rochelle Boland" userId="86fda904-73bb-4d24-9ca9-bad9a30c9062" providerId="ADAL" clId="{63399361-9180-40E4-91F8-E0ACC087B61D}" dt="2022-11-23T20:25:33.167" v="1922"/>
          <ac:spMkLst>
            <pc:docMk/>
            <pc:sldMk cId="2028211501" sldId="2147471456"/>
            <ac:spMk id="21" creationId="{E617E987-AB33-BFF7-79A7-977F673F6ED8}"/>
          </ac:spMkLst>
        </pc:spChg>
        <pc:spChg chg="add mod replST">
          <ac:chgData name="Rochelle Boland" userId="86fda904-73bb-4d24-9ca9-bad9a30c9062" providerId="ADAL" clId="{63399361-9180-40E4-91F8-E0ACC087B61D}" dt="2022-11-23T20:25:33.187" v="1925"/>
          <ac:spMkLst>
            <pc:docMk/>
            <pc:sldMk cId="2028211501" sldId="2147471456"/>
            <ac:spMk id="22" creationId="{A0F4D0D8-1075-0FB0-E981-4576B7CB81B8}"/>
          </ac:spMkLst>
        </pc:spChg>
        <pc:spChg chg="add mod replST">
          <ac:chgData name="Rochelle Boland" userId="86fda904-73bb-4d24-9ca9-bad9a30c9062" providerId="ADAL" clId="{63399361-9180-40E4-91F8-E0ACC087B61D}" dt="2022-11-23T20:25:33.211" v="1928"/>
          <ac:spMkLst>
            <pc:docMk/>
            <pc:sldMk cId="2028211501" sldId="2147471456"/>
            <ac:spMk id="26" creationId="{CF441C51-0ED2-ABCF-2292-25A51FB8AD6D}"/>
          </ac:spMkLst>
        </pc:spChg>
        <pc:spChg chg="add mod replST">
          <ac:chgData name="Rochelle Boland" userId="86fda904-73bb-4d24-9ca9-bad9a30c9062" providerId="ADAL" clId="{63399361-9180-40E4-91F8-E0ACC087B61D}" dt="2022-11-23T20:25:33.230" v="1931"/>
          <ac:spMkLst>
            <pc:docMk/>
            <pc:sldMk cId="2028211501" sldId="2147471456"/>
            <ac:spMk id="27" creationId="{64037F30-80CB-A18D-1B75-DA5145794C86}"/>
          </ac:spMkLst>
        </pc:spChg>
        <pc:spChg chg="add mod replST">
          <ac:chgData name="Rochelle Boland" userId="86fda904-73bb-4d24-9ca9-bad9a30c9062" providerId="ADAL" clId="{63399361-9180-40E4-91F8-E0ACC087B61D}" dt="2022-11-23T20:25:33.254" v="1934"/>
          <ac:spMkLst>
            <pc:docMk/>
            <pc:sldMk cId="2028211501" sldId="2147471456"/>
            <ac:spMk id="28" creationId="{2023D729-81E3-7EAC-079E-0CCB0C6B1BE6}"/>
          </ac:spMkLst>
        </pc:spChg>
        <pc:spChg chg="del">
          <ac:chgData name="Rochelle Boland" userId="86fda904-73bb-4d24-9ca9-bad9a30c9062" providerId="ADAL" clId="{63399361-9180-40E4-91F8-E0ACC087B61D}" dt="2022-11-23T20:25:26.978" v="1209"/>
          <ac:spMkLst>
            <pc:docMk/>
            <pc:sldMk cId="2028211501" sldId="2147471456"/>
            <ac:spMk id="67" creationId="{24E80BCF-1B72-ABF1-E7A6-CB4C67AC9611}"/>
          </ac:spMkLst>
        </pc:spChg>
        <pc:spChg chg="del">
          <ac:chgData name="Rochelle Boland" userId="86fda904-73bb-4d24-9ca9-bad9a30c9062" providerId="ADAL" clId="{63399361-9180-40E4-91F8-E0ACC087B61D}" dt="2022-11-23T20:25:26.976" v="1207"/>
          <ac:spMkLst>
            <pc:docMk/>
            <pc:sldMk cId="2028211501" sldId="2147471456"/>
            <ac:spMk id="68" creationId="{74CEE50B-BBD8-6AA7-90DA-E66F679E67D7}"/>
          </ac:spMkLst>
        </pc:spChg>
        <pc:spChg chg="del">
          <ac:chgData name="Rochelle Boland" userId="86fda904-73bb-4d24-9ca9-bad9a30c9062" providerId="ADAL" clId="{63399361-9180-40E4-91F8-E0ACC087B61D}" dt="2022-11-23T20:25:26.979" v="1210"/>
          <ac:spMkLst>
            <pc:docMk/>
            <pc:sldMk cId="2028211501" sldId="2147471456"/>
            <ac:spMk id="69" creationId="{8E0DE4B5-1208-64E4-9247-A013BDB71BAC}"/>
          </ac:spMkLst>
        </pc:spChg>
        <pc:spChg chg="del">
          <ac:chgData name="Rochelle Boland" userId="86fda904-73bb-4d24-9ca9-bad9a30c9062" providerId="ADAL" clId="{63399361-9180-40E4-91F8-E0ACC087B61D}" dt="2022-11-23T20:25:26.984" v="1217"/>
          <ac:spMkLst>
            <pc:docMk/>
            <pc:sldMk cId="2028211501" sldId="2147471456"/>
            <ac:spMk id="72" creationId="{A68314C0-4CD7-6CCD-D09A-DEF24D1B2F80}"/>
          </ac:spMkLst>
        </pc:spChg>
        <pc:spChg chg="del">
          <ac:chgData name="Rochelle Boland" userId="86fda904-73bb-4d24-9ca9-bad9a30c9062" providerId="ADAL" clId="{63399361-9180-40E4-91F8-E0ACC087B61D}" dt="2022-11-23T20:25:26.897" v="1163"/>
          <ac:spMkLst>
            <pc:docMk/>
            <pc:sldMk cId="2028211501" sldId="2147471456"/>
            <ac:spMk id="73" creationId="{B1ABF790-8B04-3986-52E1-78F7AE47863B}"/>
          </ac:spMkLst>
        </pc:spChg>
        <pc:spChg chg="del">
          <ac:chgData name="Rochelle Boland" userId="86fda904-73bb-4d24-9ca9-bad9a30c9062" providerId="ADAL" clId="{63399361-9180-40E4-91F8-E0ACC087B61D}" dt="2022-11-23T20:25:26.911" v="1168"/>
          <ac:spMkLst>
            <pc:docMk/>
            <pc:sldMk cId="2028211501" sldId="2147471456"/>
            <ac:spMk id="75" creationId="{65A2B6DB-48DF-6C6E-B057-965066407C21}"/>
          </ac:spMkLst>
        </pc:spChg>
        <pc:spChg chg="del">
          <ac:chgData name="Rochelle Boland" userId="86fda904-73bb-4d24-9ca9-bad9a30c9062" providerId="ADAL" clId="{63399361-9180-40E4-91F8-E0ACC087B61D}" dt="2022-11-23T20:25:26.981" v="1214"/>
          <ac:spMkLst>
            <pc:docMk/>
            <pc:sldMk cId="2028211501" sldId="2147471456"/>
            <ac:spMk id="76" creationId="{3DEA501C-114A-8B0E-8C75-6C208EE90A47}"/>
          </ac:spMkLst>
        </pc:spChg>
        <pc:spChg chg="del">
          <ac:chgData name="Rochelle Boland" userId="86fda904-73bb-4d24-9ca9-bad9a30c9062" providerId="ADAL" clId="{63399361-9180-40E4-91F8-E0ACC087B61D}" dt="2022-11-23T20:25:26.960" v="1194"/>
          <ac:spMkLst>
            <pc:docMk/>
            <pc:sldMk cId="2028211501" sldId="2147471456"/>
            <ac:spMk id="77" creationId="{E759E092-A861-DBDF-9093-B48BC84886E6}"/>
          </ac:spMkLst>
        </pc:spChg>
        <pc:spChg chg="del">
          <ac:chgData name="Rochelle Boland" userId="86fda904-73bb-4d24-9ca9-bad9a30c9062" providerId="ADAL" clId="{63399361-9180-40E4-91F8-E0ACC087B61D}" dt="2022-11-23T20:25:26.967" v="1199"/>
          <ac:spMkLst>
            <pc:docMk/>
            <pc:sldMk cId="2028211501" sldId="2147471456"/>
            <ac:spMk id="87" creationId="{24DAAD48-968A-910A-3270-EBDB6B9CD32D}"/>
          </ac:spMkLst>
        </pc:spChg>
        <pc:spChg chg="del">
          <ac:chgData name="Rochelle Boland" userId="86fda904-73bb-4d24-9ca9-bad9a30c9062" providerId="ADAL" clId="{63399361-9180-40E4-91F8-E0ACC087B61D}" dt="2022-11-23T20:25:26.965" v="1197"/>
          <ac:spMkLst>
            <pc:docMk/>
            <pc:sldMk cId="2028211501" sldId="2147471456"/>
            <ac:spMk id="88" creationId="{8B63B891-14F4-2768-B9CF-4A862574934A}"/>
          </ac:spMkLst>
        </pc:spChg>
        <pc:spChg chg="add mod replST">
          <ac:chgData name="Rochelle Boland" userId="86fda904-73bb-4d24-9ca9-bad9a30c9062" providerId="ADAL" clId="{63399361-9180-40E4-91F8-E0ACC087B61D}" dt="2022-11-23T20:25:31.103" v="1383"/>
          <ac:spMkLst>
            <pc:docMk/>
            <pc:sldMk cId="2028211501" sldId="2147471456"/>
            <ac:spMk id="92" creationId="{5824D8A3-E6FD-EB68-ED39-799109B75FD3}"/>
          </ac:spMkLst>
        </pc:spChg>
        <pc:spChg chg="del">
          <ac:chgData name="Rochelle Boland" userId="86fda904-73bb-4d24-9ca9-bad9a30c9062" providerId="ADAL" clId="{63399361-9180-40E4-91F8-E0ACC087B61D}" dt="2022-11-23T20:25:26.969" v="1200"/>
          <ac:spMkLst>
            <pc:docMk/>
            <pc:sldMk cId="2028211501" sldId="2147471456"/>
            <ac:spMk id="93" creationId="{E1DDCF6C-6680-D877-7888-9F6CB486BB1B}"/>
          </ac:spMkLst>
        </pc:spChg>
        <pc:spChg chg="add mod replST">
          <ac:chgData name="Rochelle Boland" userId="86fda904-73bb-4d24-9ca9-bad9a30c9062" providerId="ADAL" clId="{63399361-9180-40E4-91F8-E0ACC087B61D}" dt="2022-11-23T20:25:31.106" v="1385"/>
          <ac:spMkLst>
            <pc:docMk/>
            <pc:sldMk cId="2028211501" sldId="2147471456"/>
            <ac:spMk id="94" creationId="{DF436CD0-6D0D-2BE5-3254-298FD5A97EFE}"/>
          </ac:spMkLst>
        </pc:spChg>
        <pc:spChg chg="add mod replST">
          <ac:chgData name="Rochelle Boland" userId="86fda904-73bb-4d24-9ca9-bad9a30c9062" providerId="ADAL" clId="{63399361-9180-40E4-91F8-E0ACC087B61D}" dt="2022-11-23T20:25:31.141" v="1417"/>
          <ac:spMkLst>
            <pc:docMk/>
            <pc:sldMk cId="2028211501" sldId="2147471456"/>
            <ac:spMk id="95" creationId="{32F3A205-6FE2-181D-2E2B-6D37FCFC8DBE}"/>
          </ac:spMkLst>
        </pc:spChg>
        <pc:spChg chg="add mod replST">
          <ac:chgData name="Rochelle Boland" userId="86fda904-73bb-4d24-9ca9-bad9a30c9062" providerId="ADAL" clId="{63399361-9180-40E4-91F8-E0ACC087B61D}" dt="2022-11-23T20:25:31.109" v="1388"/>
          <ac:spMkLst>
            <pc:docMk/>
            <pc:sldMk cId="2028211501" sldId="2147471456"/>
            <ac:spMk id="96" creationId="{06D5253F-6893-E12B-74B1-B3D6D51D6AB0}"/>
          </ac:spMkLst>
        </pc:spChg>
        <pc:spChg chg="del">
          <ac:chgData name="Rochelle Boland" userId="86fda904-73bb-4d24-9ca9-bad9a30c9062" providerId="ADAL" clId="{63399361-9180-40E4-91F8-E0ACC087B61D}" dt="2022-11-23T20:25:26.973" v="1204"/>
          <ac:spMkLst>
            <pc:docMk/>
            <pc:sldMk cId="2028211501" sldId="2147471456"/>
            <ac:spMk id="97" creationId="{CEA3ED20-0A5A-BDFB-DC57-8B4D78EE22F9}"/>
          </ac:spMkLst>
        </pc:spChg>
        <pc:spChg chg="del">
          <ac:chgData name="Rochelle Boland" userId="86fda904-73bb-4d24-9ca9-bad9a30c9062" providerId="ADAL" clId="{63399361-9180-40E4-91F8-E0ACC087B61D}" dt="2022-11-23T20:25:26.906" v="1166"/>
          <ac:spMkLst>
            <pc:docMk/>
            <pc:sldMk cId="2028211501" sldId="2147471456"/>
            <ac:spMk id="98" creationId="{2415AABD-E3BC-3E91-6993-92EC074BAB8A}"/>
          </ac:spMkLst>
        </pc:spChg>
        <pc:spChg chg="add mod replST">
          <ac:chgData name="Rochelle Boland" userId="86fda904-73bb-4d24-9ca9-bad9a30c9062" providerId="ADAL" clId="{63399361-9180-40E4-91F8-E0ACC087B61D}" dt="2022-11-23T20:25:31.120" v="1397"/>
          <ac:spMkLst>
            <pc:docMk/>
            <pc:sldMk cId="2028211501" sldId="2147471456"/>
            <ac:spMk id="99" creationId="{A893998C-E20E-D9E7-B76C-D58401A7D6C6}"/>
          </ac:spMkLst>
        </pc:spChg>
        <pc:spChg chg="del">
          <ac:chgData name="Rochelle Boland" userId="86fda904-73bb-4d24-9ca9-bad9a30c9062" providerId="ADAL" clId="{63399361-9180-40E4-91F8-E0ACC087B61D}" dt="2022-11-23T20:25:26.892" v="1161"/>
          <ac:spMkLst>
            <pc:docMk/>
            <pc:sldMk cId="2028211501" sldId="2147471456"/>
            <ac:spMk id="100" creationId="{38AF3932-925A-1EE1-0135-9CF1CC1126B9}"/>
          </ac:spMkLst>
        </pc:spChg>
        <pc:spChg chg="del">
          <ac:chgData name="Rochelle Boland" userId="86fda904-73bb-4d24-9ca9-bad9a30c9062" providerId="ADAL" clId="{63399361-9180-40E4-91F8-E0ACC087B61D}" dt="2022-11-23T20:25:26.980" v="1212"/>
          <ac:spMkLst>
            <pc:docMk/>
            <pc:sldMk cId="2028211501" sldId="2147471456"/>
            <ac:spMk id="101" creationId="{3B213434-971A-9270-7332-C6743679E33B}"/>
          </ac:spMkLst>
        </pc:spChg>
        <pc:spChg chg="del">
          <ac:chgData name="Rochelle Boland" userId="86fda904-73bb-4d24-9ca9-bad9a30c9062" providerId="ADAL" clId="{63399361-9180-40E4-91F8-E0ACC087B61D}" dt="2022-11-23T20:25:26.957" v="1192"/>
          <ac:spMkLst>
            <pc:docMk/>
            <pc:sldMk cId="2028211501" sldId="2147471456"/>
            <ac:spMk id="102" creationId="{6B939FA8-8DBA-5A5D-58F1-6094858345A9}"/>
          </ac:spMkLst>
        </pc:spChg>
        <pc:spChg chg="del">
          <ac:chgData name="Rochelle Boland" userId="86fda904-73bb-4d24-9ca9-bad9a30c9062" providerId="ADAL" clId="{63399361-9180-40E4-91F8-E0ACC087B61D}" dt="2022-11-23T20:25:26.992" v="1228"/>
          <ac:spMkLst>
            <pc:docMk/>
            <pc:sldMk cId="2028211501" sldId="2147471456"/>
            <ac:spMk id="103" creationId="{68528F19-8C4C-AD30-E8AF-C39C262CA9EF}"/>
          </ac:spMkLst>
        </pc:spChg>
        <pc:spChg chg="del">
          <ac:chgData name="Rochelle Boland" userId="86fda904-73bb-4d24-9ca9-bad9a30c9062" providerId="ADAL" clId="{63399361-9180-40E4-91F8-E0ACC087B61D}" dt="2022-11-23T20:25:26.990" v="1225"/>
          <ac:spMkLst>
            <pc:docMk/>
            <pc:sldMk cId="2028211501" sldId="2147471456"/>
            <ac:spMk id="104" creationId="{B3602E55-1C14-2AA3-70DF-D2F87923CB79}"/>
          </ac:spMkLst>
        </pc:spChg>
        <pc:spChg chg="del">
          <ac:chgData name="Rochelle Boland" userId="86fda904-73bb-4d24-9ca9-bad9a30c9062" providerId="ADAL" clId="{63399361-9180-40E4-91F8-E0ACC087B61D}" dt="2022-11-23T20:25:26.988" v="1222"/>
          <ac:spMkLst>
            <pc:docMk/>
            <pc:sldMk cId="2028211501" sldId="2147471456"/>
            <ac:spMk id="105" creationId="{332FD281-1C69-297E-8D88-4E4FF84BD849}"/>
          </ac:spMkLst>
        </pc:spChg>
        <pc:spChg chg="del">
          <ac:chgData name="Rochelle Boland" userId="86fda904-73bb-4d24-9ca9-bad9a30c9062" providerId="ADAL" clId="{63399361-9180-40E4-91F8-E0ACC087B61D}" dt="2022-11-23T20:25:26.946" v="1186"/>
          <ac:spMkLst>
            <pc:docMk/>
            <pc:sldMk cId="2028211501" sldId="2147471456"/>
            <ac:spMk id="106" creationId="{B3DFA1F6-6AEE-0C6A-04D7-A15C483F273A}"/>
          </ac:spMkLst>
        </pc:spChg>
        <pc:spChg chg="del">
          <ac:chgData name="Rochelle Boland" userId="86fda904-73bb-4d24-9ca9-bad9a30c9062" providerId="ADAL" clId="{63399361-9180-40E4-91F8-E0ACC087B61D}" dt="2022-11-23T20:25:26.985" v="1219"/>
          <ac:spMkLst>
            <pc:docMk/>
            <pc:sldMk cId="2028211501" sldId="2147471456"/>
            <ac:spMk id="107" creationId="{F05F47CD-FB5D-0258-0738-6F645C9D4C26}"/>
          </ac:spMkLst>
        </pc:spChg>
        <pc:spChg chg="del">
          <ac:chgData name="Rochelle Boland" userId="86fda904-73bb-4d24-9ca9-bad9a30c9062" providerId="ADAL" clId="{63399361-9180-40E4-91F8-E0ACC087B61D}" dt="2022-11-23T20:25:26.971" v="1202"/>
          <ac:spMkLst>
            <pc:docMk/>
            <pc:sldMk cId="2028211501" sldId="2147471456"/>
            <ac:spMk id="108" creationId="{C812B28F-A3F0-F808-2BCB-1602739D2F46}"/>
          </ac:spMkLst>
        </pc:spChg>
        <pc:spChg chg="del">
          <ac:chgData name="Rochelle Boland" userId="86fda904-73bb-4d24-9ca9-bad9a30c9062" providerId="ADAL" clId="{63399361-9180-40E4-91F8-E0ACC087B61D}" dt="2022-11-23T20:25:26.929" v="1177"/>
          <ac:spMkLst>
            <pc:docMk/>
            <pc:sldMk cId="2028211501" sldId="2147471456"/>
            <ac:spMk id="109" creationId="{C64B1B19-D90B-C216-C5DC-268C67689413}"/>
          </ac:spMkLst>
        </pc:spChg>
        <pc:spChg chg="del">
          <ac:chgData name="Rochelle Boland" userId="86fda904-73bb-4d24-9ca9-bad9a30c9062" providerId="ADAL" clId="{63399361-9180-40E4-91F8-E0ACC087B61D}" dt="2022-11-23T20:25:26.940" v="1183"/>
          <ac:spMkLst>
            <pc:docMk/>
            <pc:sldMk cId="2028211501" sldId="2147471456"/>
            <ac:spMk id="110" creationId="{5F5815CE-AF69-0150-61AA-93A5FB4E1A93}"/>
          </ac:spMkLst>
        </pc:spChg>
        <pc:spChg chg="del">
          <ac:chgData name="Rochelle Boland" userId="86fda904-73bb-4d24-9ca9-bad9a30c9062" providerId="ADAL" clId="{63399361-9180-40E4-91F8-E0ACC087B61D}" dt="2022-11-23T20:25:26.951" v="1189"/>
          <ac:spMkLst>
            <pc:docMk/>
            <pc:sldMk cId="2028211501" sldId="2147471456"/>
            <ac:spMk id="111" creationId="{F317A62F-58AF-C1FB-B3EB-4D4EFF0FEAAB}"/>
          </ac:spMkLst>
        </pc:spChg>
        <pc:spChg chg="del">
          <ac:chgData name="Rochelle Boland" userId="86fda904-73bb-4d24-9ca9-bad9a30c9062" providerId="ADAL" clId="{63399361-9180-40E4-91F8-E0ACC087B61D}" dt="2022-11-23T20:25:26.923" v="1174"/>
          <ac:spMkLst>
            <pc:docMk/>
            <pc:sldMk cId="2028211501" sldId="2147471456"/>
            <ac:spMk id="112" creationId="{AEFF1ED7-A6B4-B3A9-9A57-0FF57CC5A427}"/>
          </ac:spMkLst>
        </pc:spChg>
        <pc:spChg chg="del">
          <ac:chgData name="Rochelle Boland" userId="86fda904-73bb-4d24-9ca9-bad9a30c9062" providerId="ADAL" clId="{63399361-9180-40E4-91F8-E0ACC087B61D}" dt="2022-11-23T20:25:26.935" v="1180"/>
          <ac:spMkLst>
            <pc:docMk/>
            <pc:sldMk cId="2028211501" sldId="2147471456"/>
            <ac:spMk id="113" creationId="{BD4CF2D3-CFC1-78D0-7934-10C7223CE61F}"/>
          </ac:spMkLst>
        </pc:spChg>
        <pc:spChg chg="del">
          <ac:chgData name="Rochelle Boland" userId="86fda904-73bb-4d24-9ca9-bad9a30c9062" providerId="ADAL" clId="{63399361-9180-40E4-91F8-E0ACC087B61D}" dt="2022-11-23T20:25:26.975" v="1205"/>
          <ac:spMkLst>
            <pc:docMk/>
            <pc:sldMk cId="2028211501" sldId="2147471456"/>
            <ac:spMk id="114" creationId="{4DDF63C4-9881-A3ED-181B-D095D8FA0678}"/>
          </ac:spMkLst>
        </pc:spChg>
        <pc:spChg chg="del">
          <ac:chgData name="Rochelle Boland" userId="86fda904-73bb-4d24-9ca9-bad9a30c9062" providerId="ADAL" clId="{63399361-9180-40E4-91F8-E0ACC087B61D}" dt="2022-11-23T20:25:26.917" v="1171"/>
          <ac:spMkLst>
            <pc:docMk/>
            <pc:sldMk cId="2028211501" sldId="2147471456"/>
            <ac:spMk id="115" creationId="{E6FBB633-67FE-F8A6-D92D-3718C1EA96AA}"/>
          </ac:spMkLst>
        </pc:spChg>
        <pc:spChg chg="add mod replST">
          <ac:chgData name="Rochelle Boland" userId="86fda904-73bb-4d24-9ca9-bad9a30c9062" providerId="ADAL" clId="{63399361-9180-40E4-91F8-E0ACC087B61D}" dt="2022-11-23T20:25:31.138" v="1414"/>
          <ac:spMkLst>
            <pc:docMk/>
            <pc:sldMk cId="2028211501" sldId="2147471456"/>
            <ac:spMk id="116" creationId="{F410B26B-59FD-B177-BA71-6C245D815CDB}"/>
          </ac:spMkLst>
        </pc:spChg>
        <pc:spChg chg="del">
          <ac:chgData name="Rochelle Boland" userId="86fda904-73bb-4d24-9ca9-bad9a30c9062" providerId="ADAL" clId="{63399361-9180-40E4-91F8-E0ACC087B61D}" dt="2022-11-23T20:25:26.993" v="1229"/>
          <ac:spMkLst>
            <pc:docMk/>
            <pc:sldMk cId="2028211501" sldId="2147471456"/>
            <ac:spMk id="117" creationId="{FE5D2180-13FC-C820-0D23-27897C54AB7D}"/>
          </ac:spMkLst>
        </pc:spChg>
        <pc:spChg chg="add mod replST">
          <ac:chgData name="Rochelle Boland" userId="86fda904-73bb-4d24-9ca9-bad9a30c9062" providerId="ADAL" clId="{63399361-9180-40E4-91F8-E0ACC087B61D}" dt="2022-11-23T20:25:31.113" v="1391"/>
          <ac:spMkLst>
            <pc:docMk/>
            <pc:sldMk cId="2028211501" sldId="2147471456"/>
            <ac:spMk id="118" creationId="{AEF7305D-C519-CE4A-BA29-A8AD349ABB2C}"/>
          </ac:spMkLst>
        </pc:spChg>
        <pc:spChg chg="del">
          <ac:chgData name="Rochelle Boland" userId="86fda904-73bb-4d24-9ca9-bad9a30c9062" providerId="ADAL" clId="{63399361-9180-40E4-91F8-E0ACC087B61D}" dt="2022-11-23T20:25:26.991" v="1226"/>
          <ac:spMkLst>
            <pc:docMk/>
            <pc:sldMk cId="2028211501" sldId="2147471456"/>
            <ac:spMk id="119" creationId="{31D5349D-4CC9-71EA-408C-E1821F1C5C4D}"/>
          </ac:spMkLst>
        </pc:spChg>
        <pc:spChg chg="add mod replST">
          <ac:chgData name="Rochelle Boland" userId="86fda904-73bb-4d24-9ca9-bad9a30c9062" providerId="ADAL" clId="{63399361-9180-40E4-91F8-E0ACC087B61D}" dt="2022-11-23T20:25:31.116" v="1394"/>
          <ac:spMkLst>
            <pc:docMk/>
            <pc:sldMk cId="2028211501" sldId="2147471456"/>
            <ac:spMk id="120" creationId="{DDB00896-643F-D5FD-77C8-8EA7DC47495D}"/>
          </ac:spMkLst>
        </pc:spChg>
        <pc:spChg chg="del">
          <ac:chgData name="Rochelle Boland" userId="86fda904-73bb-4d24-9ca9-bad9a30c9062" providerId="ADAL" clId="{63399361-9180-40E4-91F8-E0ACC087B61D}" dt="2022-11-23T20:25:26.989" v="1223"/>
          <ac:spMkLst>
            <pc:docMk/>
            <pc:sldMk cId="2028211501" sldId="2147471456"/>
            <ac:spMk id="121" creationId="{DB3F2855-CFD9-6B40-5A4F-4270A6515471}"/>
          </ac:spMkLst>
        </pc:spChg>
        <pc:spChg chg="add mod replST">
          <ac:chgData name="Rochelle Boland" userId="86fda904-73bb-4d24-9ca9-bad9a30c9062" providerId="ADAL" clId="{63399361-9180-40E4-91F8-E0ACC087B61D}" dt="2022-11-23T20:25:31.139" v="1415"/>
          <ac:spMkLst>
            <pc:docMk/>
            <pc:sldMk cId="2028211501" sldId="2147471456"/>
            <ac:spMk id="122" creationId="{26F8F254-492F-824E-E3EA-02E5E6476595}"/>
          </ac:spMkLst>
        </pc:spChg>
        <pc:spChg chg="del">
          <ac:chgData name="Rochelle Boland" userId="86fda904-73bb-4d24-9ca9-bad9a30c9062" providerId="ADAL" clId="{63399361-9180-40E4-91F8-E0ACC087B61D}" dt="2022-11-23T20:25:26.900" v="1164"/>
          <ac:spMkLst>
            <pc:docMk/>
            <pc:sldMk cId="2028211501" sldId="2147471456"/>
            <ac:spMk id="123" creationId="{31F1E6C2-F2E5-D398-ED2E-B40D041089A8}"/>
          </ac:spMkLst>
        </pc:spChg>
        <pc:spChg chg="add mod replST">
          <ac:chgData name="Rochelle Boland" userId="86fda904-73bb-4d24-9ca9-bad9a30c9062" providerId="ADAL" clId="{63399361-9180-40E4-91F8-E0ACC087B61D}" dt="2022-11-23T20:25:31.141" v="1418"/>
          <ac:spMkLst>
            <pc:docMk/>
            <pc:sldMk cId="2028211501" sldId="2147471456"/>
            <ac:spMk id="124" creationId="{88A8630A-5A48-46F2-5403-2BDAAF0ABE98}"/>
          </ac:spMkLst>
        </pc:spChg>
        <pc:spChg chg="del">
          <ac:chgData name="Rochelle Boland" userId="86fda904-73bb-4d24-9ca9-bad9a30c9062" providerId="ADAL" clId="{63399361-9180-40E4-91F8-E0ACC087B61D}" dt="2022-11-23T20:25:26.948" v="1187"/>
          <ac:spMkLst>
            <pc:docMk/>
            <pc:sldMk cId="2028211501" sldId="2147471456"/>
            <ac:spMk id="125" creationId="{8EA255C5-4B5C-189F-7145-E2CC1E84AC31}"/>
          </ac:spMkLst>
        </pc:spChg>
        <pc:spChg chg="add mod replST">
          <ac:chgData name="Rochelle Boland" userId="86fda904-73bb-4d24-9ca9-bad9a30c9062" providerId="ADAL" clId="{63399361-9180-40E4-91F8-E0ACC087B61D}" dt="2022-11-23T20:25:31.107" v="1386"/>
          <ac:spMkLst>
            <pc:docMk/>
            <pc:sldMk cId="2028211501" sldId="2147471456"/>
            <ac:spMk id="126" creationId="{E7062606-B688-0E3D-9EF8-20E4EFB76A99}"/>
          </ac:spMkLst>
        </pc:spChg>
        <pc:spChg chg="del">
          <ac:chgData name="Rochelle Boland" userId="86fda904-73bb-4d24-9ca9-bad9a30c9062" providerId="ADAL" clId="{63399361-9180-40E4-91F8-E0ACC087B61D}" dt="2022-11-23T20:25:26.953" v="1190"/>
          <ac:spMkLst>
            <pc:docMk/>
            <pc:sldMk cId="2028211501" sldId="2147471456"/>
            <ac:spMk id="127" creationId="{7CB45B0E-68F8-15E1-B198-3F9C1FC258D0}"/>
          </ac:spMkLst>
        </pc:spChg>
        <pc:spChg chg="del">
          <ac:chgData name="Rochelle Boland" userId="86fda904-73bb-4d24-9ca9-bad9a30c9062" providerId="ADAL" clId="{63399361-9180-40E4-91F8-E0ACC087B61D}" dt="2022-11-23T20:25:26.943" v="1184"/>
          <ac:spMkLst>
            <pc:docMk/>
            <pc:sldMk cId="2028211501" sldId="2147471456"/>
            <ac:spMk id="128" creationId="{6847B283-1B9C-330F-8790-A7A8403ABC27}"/>
          </ac:spMkLst>
        </pc:spChg>
        <pc:spChg chg="del">
          <ac:chgData name="Rochelle Boland" userId="86fda904-73bb-4d24-9ca9-bad9a30c9062" providerId="ADAL" clId="{63399361-9180-40E4-91F8-E0ACC087B61D}" dt="2022-11-23T20:25:26.925" v="1175"/>
          <ac:spMkLst>
            <pc:docMk/>
            <pc:sldMk cId="2028211501" sldId="2147471456"/>
            <ac:spMk id="129" creationId="{5A2886DF-1C0D-272F-BCA9-B7E1CCF74215}"/>
          </ac:spMkLst>
        </pc:spChg>
        <pc:spChg chg="add mod replST">
          <ac:chgData name="Rochelle Boland" userId="86fda904-73bb-4d24-9ca9-bad9a30c9062" providerId="ADAL" clId="{63399361-9180-40E4-91F8-E0ACC087B61D}" dt="2022-11-23T20:25:31.110" v="1389"/>
          <ac:spMkLst>
            <pc:docMk/>
            <pc:sldMk cId="2028211501" sldId="2147471456"/>
            <ac:spMk id="130" creationId="{6FE09FE2-CC58-E087-4286-B97859FCA750}"/>
          </ac:spMkLst>
        </pc:spChg>
        <pc:spChg chg="del">
          <ac:chgData name="Rochelle Boland" userId="86fda904-73bb-4d24-9ca9-bad9a30c9062" providerId="ADAL" clId="{63399361-9180-40E4-91F8-E0ACC087B61D}" dt="2022-11-23T20:25:26.993" v="1230"/>
          <ac:spMkLst>
            <pc:docMk/>
            <pc:sldMk cId="2028211501" sldId="2147471456"/>
            <ac:spMk id="131" creationId="{25226CD5-EE3E-DD17-3BB5-B7F4C980CD93}"/>
          </ac:spMkLst>
        </pc:spChg>
        <pc:spChg chg="del">
          <ac:chgData name="Rochelle Boland" userId="86fda904-73bb-4d24-9ca9-bad9a30c9062" providerId="ADAL" clId="{63399361-9180-40E4-91F8-E0ACC087B61D}" dt="2022-11-23T20:25:26.962" v="1195"/>
          <ac:spMkLst>
            <pc:docMk/>
            <pc:sldMk cId="2028211501" sldId="2147471456"/>
            <ac:spMk id="132" creationId="{CCAF67C8-6027-6EC0-FED7-33C0E4E01F50}"/>
          </ac:spMkLst>
        </pc:spChg>
        <pc:spChg chg="add mod replST">
          <ac:chgData name="Rochelle Boland" userId="86fda904-73bb-4d24-9ca9-bad9a30c9062" providerId="ADAL" clId="{63399361-9180-40E4-91F8-E0ACC087B61D}" dt="2022-11-23T20:25:31.121" v="1398"/>
          <ac:spMkLst>
            <pc:docMk/>
            <pc:sldMk cId="2028211501" sldId="2147471456"/>
            <ac:spMk id="133" creationId="{D9C82BDB-9CC7-A03A-13E4-63298CF10F51}"/>
          </ac:spMkLst>
        </pc:spChg>
        <pc:spChg chg="del">
          <ac:chgData name="Rochelle Boland" userId="86fda904-73bb-4d24-9ca9-bad9a30c9062" providerId="ADAL" clId="{63399361-9180-40E4-91F8-E0ACC087B61D}" dt="2022-11-23T20:25:26.937" v="1181"/>
          <ac:spMkLst>
            <pc:docMk/>
            <pc:sldMk cId="2028211501" sldId="2147471456"/>
            <ac:spMk id="134" creationId="{5FC180D8-DA9F-4834-4637-4AF269F9120D}"/>
          </ac:spMkLst>
        </pc:spChg>
        <pc:spChg chg="add mod replST">
          <ac:chgData name="Rochelle Boland" userId="86fda904-73bb-4d24-9ca9-bad9a30c9062" providerId="ADAL" clId="{63399361-9180-40E4-91F8-E0ACC087B61D}" dt="2022-11-23T20:25:31.117" v="1395"/>
          <ac:spMkLst>
            <pc:docMk/>
            <pc:sldMk cId="2028211501" sldId="2147471456"/>
            <ac:spMk id="135" creationId="{C85A59BD-94F5-6C76-7EB9-10EA458E209D}"/>
          </ac:spMkLst>
        </pc:spChg>
        <pc:spChg chg="del">
          <ac:chgData name="Rochelle Boland" userId="86fda904-73bb-4d24-9ca9-bad9a30c9062" providerId="ADAL" clId="{63399361-9180-40E4-91F8-E0ACC087B61D}" dt="2022-11-23T20:25:26.931" v="1178"/>
          <ac:spMkLst>
            <pc:docMk/>
            <pc:sldMk cId="2028211501" sldId="2147471456"/>
            <ac:spMk id="136" creationId="{44D393C8-C831-856B-9ABD-5B0E9D89E933}"/>
          </ac:spMkLst>
        </pc:spChg>
        <pc:spChg chg="del">
          <ac:chgData name="Rochelle Boland" userId="86fda904-73bb-4d24-9ca9-bad9a30c9062" providerId="ADAL" clId="{63399361-9180-40E4-91F8-E0ACC087B61D}" dt="2022-11-23T20:25:26.913" v="1169"/>
          <ac:spMkLst>
            <pc:docMk/>
            <pc:sldMk cId="2028211501" sldId="2147471456"/>
            <ac:spMk id="137" creationId="{D8C1E19D-97D4-6F58-4B05-AD30D09DC694}"/>
          </ac:spMkLst>
        </pc:spChg>
        <pc:spChg chg="add mod replST">
          <ac:chgData name="Rochelle Boland" userId="86fda904-73bb-4d24-9ca9-bad9a30c9062" providerId="ADAL" clId="{63399361-9180-40E4-91F8-E0ACC087B61D}" dt="2022-11-23T20:25:31.114" v="1392"/>
          <ac:spMkLst>
            <pc:docMk/>
            <pc:sldMk cId="2028211501" sldId="2147471456"/>
            <ac:spMk id="138" creationId="{6D120169-2B81-DBB6-B685-DB97C8E37663}"/>
          </ac:spMkLst>
        </pc:spChg>
        <pc:spChg chg="add mod replST">
          <ac:chgData name="Rochelle Boland" userId="86fda904-73bb-4d24-9ca9-bad9a30c9062" providerId="ADAL" clId="{63399361-9180-40E4-91F8-E0ACC087B61D}" dt="2022-11-23T20:25:31.099" v="1380"/>
          <ac:spMkLst>
            <pc:docMk/>
            <pc:sldMk cId="2028211501" sldId="2147471456"/>
            <ac:spMk id="139" creationId="{5B3F59D4-71DD-0F6D-F24B-EF854BF97824}"/>
          </ac:spMkLst>
        </pc:spChg>
        <pc:spChg chg="del">
          <ac:chgData name="Rochelle Boland" userId="86fda904-73bb-4d24-9ca9-bad9a30c9062" providerId="ADAL" clId="{63399361-9180-40E4-91F8-E0ACC087B61D}" dt="2022-11-23T20:25:26.982" v="1215"/>
          <ac:spMkLst>
            <pc:docMk/>
            <pc:sldMk cId="2028211501" sldId="2147471456"/>
            <ac:spMk id="140" creationId="{F63F4E5C-C653-01EC-E28F-B464FB47E276}"/>
          </ac:spMkLst>
        </pc:spChg>
        <pc:spChg chg="del">
          <ac:chgData name="Rochelle Boland" userId="86fda904-73bb-4d24-9ca9-bad9a30c9062" providerId="ADAL" clId="{63399361-9180-40E4-91F8-E0ACC087B61D}" dt="2022-11-23T20:25:26.986" v="1220"/>
          <ac:spMkLst>
            <pc:docMk/>
            <pc:sldMk cId="2028211501" sldId="2147471456"/>
            <ac:spMk id="141" creationId="{C9DAF32D-36AE-41EB-7CCE-CC3950C48C3B}"/>
          </ac:spMkLst>
        </pc:spChg>
        <pc:spChg chg="del">
          <ac:chgData name="Rochelle Boland" userId="86fda904-73bb-4d24-9ca9-bad9a30c9062" providerId="ADAL" clId="{63399361-9180-40E4-91F8-E0ACC087B61D}" dt="2022-11-23T20:25:26.919" v="1172"/>
          <ac:spMkLst>
            <pc:docMk/>
            <pc:sldMk cId="2028211501" sldId="2147471456"/>
            <ac:spMk id="142" creationId="{0227BD98-5406-B296-7D37-89834D31F712}"/>
          </ac:spMkLst>
        </pc:spChg>
        <pc:spChg chg="add mod replST">
          <ac:chgData name="Rochelle Boland" userId="86fda904-73bb-4d24-9ca9-bad9a30c9062" providerId="ADAL" clId="{63399361-9180-40E4-91F8-E0ACC087B61D}" dt="2022-11-23T20:25:31.131" v="1408"/>
          <ac:spMkLst>
            <pc:docMk/>
            <pc:sldMk cId="2028211501" sldId="2147471456"/>
            <ac:spMk id="143" creationId="{2C869D2E-B144-53C3-AE89-7A1C894D07D0}"/>
          </ac:spMkLst>
        </pc:spChg>
        <pc:spChg chg="add mod replST">
          <ac:chgData name="Rochelle Boland" userId="86fda904-73bb-4d24-9ca9-bad9a30c9062" providerId="ADAL" clId="{63399361-9180-40E4-91F8-E0ACC087B61D}" dt="2022-11-23T20:25:31.127" v="1404"/>
          <ac:spMkLst>
            <pc:docMk/>
            <pc:sldMk cId="2028211501" sldId="2147471456"/>
            <ac:spMk id="144" creationId="{8170C3D0-E924-F478-A71D-4532C3EEB883}"/>
          </ac:spMkLst>
        </pc:spChg>
        <pc:spChg chg="add mod replST">
          <ac:chgData name="Rochelle Boland" userId="86fda904-73bb-4d24-9ca9-bad9a30c9062" providerId="ADAL" clId="{63399361-9180-40E4-91F8-E0ACC087B61D}" dt="2022-11-23T20:25:31.136" v="1412"/>
          <ac:spMkLst>
            <pc:docMk/>
            <pc:sldMk cId="2028211501" sldId="2147471456"/>
            <ac:spMk id="145" creationId="{E5CF44D6-79CA-25D4-922E-74D43FA18CB0}"/>
          </ac:spMkLst>
        </pc:spChg>
        <pc:spChg chg="add mod replST">
          <ac:chgData name="Rochelle Boland" userId="86fda904-73bb-4d24-9ca9-bad9a30c9062" providerId="ADAL" clId="{63399361-9180-40E4-91F8-E0ACC087B61D}" dt="2022-11-23T20:25:31.102" v="1382"/>
          <ac:spMkLst>
            <pc:docMk/>
            <pc:sldMk cId="2028211501" sldId="2147471456"/>
            <ac:spMk id="146" creationId="{FE680E1B-3499-D608-AA14-0A9CE8CCBD03}"/>
          </ac:spMkLst>
        </pc:spChg>
        <pc:spChg chg="add mod replST">
          <ac:chgData name="Rochelle Boland" userId="86fda904-73bb-4d24-9ca9-bad9a30c9062" providerId="ADAL" clId="{63399361-9180-40E4-91F8-E0ACC087B61D}" dt="2022-11-23T20:25:31.129" v="1406"/>
          <ac:spMkLst>
            <pc:docMk/>
            <pc:sldMk cId="2028211501" sldId="2147471456"/>
            <ac:spMk id="147" creationId="{29B68DDE-F38D-0086-7862-2F5074B7B096}"/>
          </ac:spMkLst>
        </pc:spChg>
        <pc:spChg chg="add mod replST">
          <ac:chgData name="Rochelle Boland" userId="86fda904-73bb-4d24-9ca9-bad9a30c9062" providerId="ADAL" clId="{63399361-9180-40E4-91F8-E0ACC087B61D}" dt="2022-11-23T20:25:31.133" v="1410"/>
          <ac:spMkLst>
            <pc:docMk/>
            <pc:sldMk cId="2028211501" sldId="2147471456"/>
            <ac:spMk id="148" creationId="{927B5022-0604-0800-8B3C-12C261B12017}"/>
          </ac:spMkLst>
        </pc:spChg>
        <pc:spChg chg="add mod replST">
          <ac:chgData name="Rochelle Boland" userId="86fda904-73bb-4d24-9ca9-bad9a30c9062" providerId="ADAL" clId="{63399361-9180-40E4-91F8-E0ACC087B61D}" dt="2022-11-23T20:25:31.096" v="1378"/>
          <ac:spMkLst>
            <pc:docMk/>
            <pc:sldMk cId="2028211501" sldId="2147471456"/>
            <ac:spMk id="149" creationId="{C60C7C75-03A9-DDB9-047C-66966F7B8150}"/>
          </ac:spMkLst>
        </pc:spChg>
        <pc:spChg chg="add mod replST">
          <ac:chgData name="Rochelle Boland" userId="86fda904-73bb-4d24-9ca9-bad9a30c9062" providerId="ADAL" clId="{63399361-9180-40E4-91F8-E0ACC087B61D}" dt="2022-11-23T20:25:31.125" v="1402"/>
          <ac:spMkLst>
            <pc:docMk/>
            <pc:sldMk cId="2028211501" sldId="2147471456"/>
            <ac:spMk id="150" creationId="{485CC32C-7365-CE17-3B7F-69AA688074F0}"/>
          </ac:spMkLst>
        </pc:spChg>
        <pc:spChg chg="add mod replST">
          <ac:chgData name="Rochelle Boland" userId="86fda904-73bb-4d24-9ca9-bad9a30c9062" providerId="ADAL" clId="{63399361-9180-40E4-91F8-E0ACC087B61D}" dt="2022-11-23T20:25:31.094" v="1376"/>
          <ac:spMkLst>
            <pc:docMk/>
            <pc:sldMk cId="2028211501" sldId="2147471456"/>
            <ac:spMk id="151" creationId="{6C48012B-D241-A244-8A81-0AD96699ADC2}"/>
          </ac:spMkLst>
        </pc:spChg>
        <pc:spChg chg="add mod replST">
          <ac:chgData name="Rochelle Boland" userId="86fda904-73bb-4d24-9ca9-bad9a30c9062" providerId="ADAL" clId="{63399361-9180-40E4-91F8-E0ACC087B61D}" dt="2022-11-23T20:25:31.123" v="1400"/>
          <ac:spMkLst>
            <pc:docMk/>
            <pc:sldMk cId="2028211501" sldId="2147471456"/>
            <ac:spMk id="152" creationId="{71F112B1-397C-F037-A5C5-51775E49E54A}"/>
          </ac:spMkLst>
        </pc:spChg>
        <pc:spChg chg="add mod replST">
          <ac:chgData name="Rochelle Boland" userId="86fda904-73bb-4d24-9ca9-bad9a30c9062" providerId="ADAL" clId="{63399361-9180-40E4-91F8-E0ACC087B61D}" dt="2022-11-23T20:25:32.983" v="1862"/>
          <ac:spMkLst>
            <pc:docMk/>
            <pc:sldMk cId="2028211501" sldId="2147471456"/>
            <ac:spMk id="153" creationId="{33033089-F1D8-016C-9011-C110B4D513A9}"/>
          </ac:spMkLst>
        </pc:spChg>
        <pc:spChg chg="add mod replST">
          <ac:chgData name="Rochelle Boland" userId="86fda904-73bb-4d24-9ca9-bad9a30c9062" providerId="ADAL" clId="{63399361-9180-40E4-91F8-E0ACC087B61D}" dt="2022-11-23T20:25:33.030" v="1878"/>
          <ac:spMkLst>
            <pc:docMk/>
            <pc:sldMk cId="2028211501" sldId="2147471456"/>
            <ac:spMk id="154" creationId="{7328B1FA-C766-C493-779E-CDC28BD173D8}"/>
          </ac:spMkLst>
        </pc:spChg>
        <pc:spChg chg="add mod replST">
          <ac:chgData name="Rochelle Boland" userId="86fda904-73bb-4d24-9ca9-bad9a30c9062" providerId="ADAL" clId="{63399361-9180-40E4-91F8-E0ACC087B61D}" dt="2022-11-23T20:25:33.105" v="1900"/>
          <ac:spMkLst>
            <pc:docMk/>
            <pc:sldMk cId="2028211501" sldId="2147471456"/>
            <ac:spMk id="155" creationId="{61DA2A6A-FE30-D10B-366B-0EE5710AC2F7}"/>
          </ac:spMkLst>
        </pc:spChg>
        <pc:spChg chg="add mod replST">
          <ac:chgData name="Rochelle Boland" userId="86fda904-73bb-4d24-9ca9-bad9a30c9062" providerId="ADAL" clId="{63399361-9180-40E4-91F8-E0ACC087B61D}" dt="2022-11-23T20:25:32.668" v="1764"/>
          <ac:spMkLst>
            <pc:docMk/>
            <pc:sldMk cId="2028211501" sldId="2147471456"/>
            <ac:spMk id="156" creationId="{F3D668CB-9E3D-D631-E3B5-7CF80C74AF65}"/>
          </ac:spMkLst>
        </pc:spChg>
        <pc:spChg chg="add mod replST">
          <ac:chgData name="Rochelle Boland" userId="86fda904-73bb-4d24-9ca9-bad9a30c9062" providerId="ADAL" clId="{63399361-9180-40E4-91F8-E0ACC087B61D}" dt="2022-11-23T20:25:33.090" v="1897"/>
          <ac:spMkLst>
            <pc:docMk/>
            <pc:sldMk cId="2028211501" sldId="2147471456"/>
            <ac:spMk id="157" creationId="{C11B3AED-73AB-76B6-5C2D-747B2E5473CA}"/>
          </ac:spMkLst>
        </pc:spChg>
        <pc:spChg chg="add mod replST">
          <ac:chgData name="Rochelle Boland" userId="86fda904-73bb-4d24-9ca9-bad9a30c9062" providerId="ADAL" clId="{63399361-9180-40E4-91F8-E0ACC087B61D}" dt="2022-11-23T20:25:32.554" v="1726"/>
          <ac:spMkLst>
            <pc:docMk/>
            <pc:sldMk cId="2028211501" sldId="2147471456"/>
            <ac:spMk id="158" creationId="{63E2A283-6A10-4A63-CC08-A260CEA90EC8}"/>
          </ac:spMkLst>
        </pc:spChg>
        <pc:spChg chg="add mod replST">
          <ac:chgData name="Rochelle Boland" userId="86fda904-73bb-4d24-9ca9-bad9a30c9062" providerId="ADAL" clId="{63399361-9180-40E4-91F8-E0ACC087B61D}" dt="2022-11-23T20:25:33.139" v="1916"/>
          <ac:spMkLst>
            <pc:docMk/>
            <pc:sldMk cId="2028211501" sldId="2147471456"/>
            <ac:spMk id="159" creationId="{248DC403-F330-D0CE-5571-7284F5EC4620}"/>
          </ac:spMkLst>
        </pc:spChg>
        <pc:spChg chg="add mod replST">
          <ac:chgData name="Rochelle Boland" userId="86fda904-73bb-4d24-9ca9-bad9a30c9062" providerId="ADAL" clId="{63399361-9180-40E4-91F8-E0ACC087B61D}" dt="2022-11-23T20:25:32.862" v="1824"/>
          <ac:spMkLst>
            <pc:docMk/>
            <pc:sldMk cId="2028211501" sldId="2147471456"/>
            <ac:spMk id="160" creationId="{A7F198A8-9AD2-EEC0-4F69-699D9F4B4B85}"/>
          </ac:spMkLst>
        </pc:spChg>
        <pc:spChg chg="add mod replST">
          <ac:chgData name="Rochelle Boland" userId="86fda904-73bb-4d24-9ca9-bad9a30c9062" providerId="ADAL" clId="{63399361-9180-40E4-91F8-E0ACC087B61D}" dt="2022-11-23T20:25:33.149" v="1919"/>
          <ac:spMkLst>
            <pc:docMk/>
            <pc:sldMk cId="2028211501" sldId="2147471456"/>
            <ac:spMk id="161" creationId="{EBF38DCE-9B12-9B00-5011-B8621225D67F}"/>
          </ac:spMkLst>
        </pc:spChg>
        <pc:spChg chg="add mod replST">
          <ac:chgData name="Rochelle Boland" userId="86fda904-73bb-4d24-9ca9-bad9a30c9062" providerId="ADAL" clId="{63399361-9180-40E4-91F8-E0ACC087B61D}" dt="2022-11-23T20:25:32.787" v="1802"/>
          <ac:spMkLst>
            <pc:docMk/>
            <pc:sldMk cId="2028211501" sldId="2147471456"/>
            <ac:spMk id="162" creationId="{56BB8045-E9C6-8818-E3EC-7BD12E5F34BB}"/>
          </ac:spMkLst>
        </pc:spChg>
        <pc:spChg chg="add mod replST">
          <ac:chgData name="Rochelle Boland" userId="86fda904-73bb-4d24-9ca9-bad9a30c9062" providerId="ADAL" clId="{63399361-9180-40E4-91F8-E0ACC087B61D}" dt="2022-11-23T20:25:33.075" v="1894"/>
          <ac:spMkLst>
            <pc:docMk/>
            <pc:sldMk cId="2028211501" sldId="2147471456"/>
            <ac:spMk id="163" creationId="{4EA3DCEB-A792-9BAF-0A17-678946BD41BD}"/>
          </ac:spMkLst>
        </pc:spChg>
        <pc:spChg chg="add mod replST">
          <ac:chgData name="Rochelle Boland" userId="86fda904-73bb-4d24-9ca9-bad9a30c9062" providerId="ADAL" clId="{63399361-9180-40E4-91F8-E0ACC087B61D}" dt="2022-11-23T20:25:32.740" v="1786"/>
          <ac:spMkLst>
            <pc:docMk/>
            <pc:sldMk cId="2028211501" sldId="2147471456"/>
            <ac:spMk id="164" creationId="{4FEB77E1-A126-925E-0692-E215673A5554}"/>
          </ac:spMkLst>
        </pc:spChg>
        <pc:spChg chg="add mod replST">
          <ac:chgData name="Rochelle Boland" userId="86fda904-73bb-4d24-9ca9-bad9a30c9062" providerId="ADAL" clId="{63399361-9180-40E4-91F8-E0ACC087B61D}" dt="2022-11-23T20:25:32.925" v="1843"/>
          <ac:spMkLst>
            <pc:docMk/>
            <pc:sldMk cId="2028211501" sldId="2147471456"/>
            <ac:spMk id="165" creationId="{760C6D95-F7FF-694F-6A00-5F49C6C93E20}"/>
          </ac:spMkLst>
        </pc:spChg>
        <pc:spChg chg="add mod replST">
          <ac:chgData name="Rochelle Boland" userId="86fda904-73bb-4d24-9ca9-bad9a30c9062" providerId="ADAL" clId="{63399361-9180-40E4-91F8-E0ACC087B61D}" dt="2022-11-23T20:25:32.726" v="1783"/>
          <ac:spMkLst>
            <pc:docMk/>
            <pc:sldMk cId="2028211501" sldId="2147471456"/>
            <ac:spMk id="166" creationId="{8E4DF489-4CF3-502B-2031-508DFC126904}"/>
          </ac:spMkLst>
        </pc:spChg>
        <pc:spChg chg="add mod replST">
          <ac:chgData name="Rochelle Boland" userId="86fda904-73bb-4d24-9ca9-bad9a30c9062" providerId="ADAL" clId="{63399361-9180-40E4-91F8-E0ACC087B61D}" dt="2022-11-23T20:25:32.972" v="1859"/>
          <ac:spMkLst>
            <pc:docMk/>
            <pc:sldMk cId="2028211501" sldId="2147471456"/>
            <ac:spMk id="167" creationId="{02A216B5-5856-7B02-D563-70270412AFB5}"/>
          </ac:spMkLst>
        </pc:spChg>
        <pc:spChg chg="add mod replST">
          <ac:chgData name="Rochelle Boland" userId="86fda904-73bb-4d24-9ca9-bad9a30c9062" providerId="ADAL" clId="{63399361-9180-40E4-91F8-E0ACC087B61D}" dt="2022-11-23T20:25:32.877" v="1827"/>
          <ac:spMkLst>
            <pc:docMk/>
            <pc:sldMk cId="2028211501" sldId="2147471456"/>
            <ac:spMk id="168" creationId="{B6906D46-C411-3F68-BB71-C80BE1F6E552}"/>
          </ac:spMkLst>
        </pc:spChg>
        <pc:spChg chg="add mod replST">
          <ac:chgData name="Rochelle Boland" userId="86fda904-73bb-4d24-9ca9-bad9a30c9062" providerId="ADAL" clId="{63399361-9180-40E4-91F8-E0ACC087B61D}" dt="2022-11-23T20:25:32.847" v="1821"/>
          <ac:spMkLst>
            <pc:docMk/>
            <pc:sldMk cId="2028211501" sldId="2147471456"/>
            <ac:spMk id="169" creationId="{C33646D5-3016-15A5-3FF5-266D6AB4F0B3}"/>
          </ac:spMkLst>
        </pc:spChg>
        <pc:spChg chg="add mod replST">
          <ac:chgData name="Rochelle Boland" userId="86fda904-73bb-4d24-9ca9-bad9a30c9062" providerId="ADAL" clId="{63399361-9180-40E4-91F8-E0ACC087B61D}" dt="2022-11-23T20:25:32.714" v="1780"/>
          <ac:spMkLst>
            <pc:docMk/>
            <pc:sldMk cId="2028211501" sldId="2147471456"/>
            <ac:spMk id="170" creationId="{A447A8A5-84D6-7116-8069-80C61F6D98FB}"/>
          </ac:spMkLst>
        </pc:spChg>
        <pc:spChg chg="add mod replST">
          <ac:chgData name="Rochelle Boland" userId="86fda904-73bb-4d24-9ca9-bad9a30c9062" providerId="ADAL" clId="{63399361-9180-40E4-91F8-E0ACC087B61D}" dt="2022-11-23T20:25:32.834" v="1818"/>
          <ac:spMkLst>
            <pc:docMk/>
            <pc:sldMk cId="2028211501" sldId="2147471456"/>
            <ac:spMk id="171" creationId="{CE76818B-B718-4750-3259-C159616763DD}"/>
          </ac:spMkLst>
        </pc:spChg>
        <pc:spChg chg="add mod">
          <ac:chgData name="Rochelle Boland" userId="86fda904-73bb-4d24-9ca9-bad9a30c9062" providerId="ADAL" clId="{63399361-9180-40E4-91F8-E0ACC087B61D}" dt="2022-11-23T20:25:31.061" v="1368"/>
          <ac:spMkLst>
            <pc:docMk/>
            <pc:sldMk cId="2028211501" sldId="2147471456"/>
            <ac:spMk id="172" creationId="{DA08E12B-EA71-1D6C-9F7B-EE7BD4B4D1C0}"/>
          </ac:spMkLst>
        </pc:spChg>
        <pc:spChg chg="add del mod modVis">
          <ac:chgData name="Rochelle Boland" userId="86fda904-73bb-4d24-9ca9-bad9a30c9062" providerId="ADAL" clId="{63399361-9180-40E4-91F8-E0ACC087B61D}" dt="2022-11-23T20:25:33.452" v="1946"/>
          <ac:spMkLst>
            <pc:docMk/>
            <pc:sldMk cId="2028211501" sldId="2147471456"/>
            <ac:spMk id="173" creationId="{3BB6A0F5-2D99-4878-8243-2E45CCB779CC}"/>
          </ac:spMkLst>
        </pc:spChg>
        <pc:graphicFrameChg chg="mod">
          <ac:chgData name="Rochelle Boland" userId="86fda904-73bb-4d24-9ca9-bad9a30c9062" providerId="ADAL" clId="{63399361-9180-40E4-91F8-E0ACC087B61D}" dt="2022-11-23T20:25:33.486" v="1948"/>
          <ac:graphicFrameMkLst>
            <pc:docMk/>
            <pc:sldMk cId="2028211501" sldId="2147471456"/>
            <ac:graphicFrameMk id="5" creationId="{28422D06-2229-6E64-B273-7B2A487F59F1}"/>
          </ac:graphicFrameMkLst>
        </pc:graphicFrameChg>
        <pc:cxnChg chg="del">
          <ac:chgData name="Rochelle Boland" userId="86fda904-73bb-4d24-9ca9-bad9a30c9062" providerId="ADAL" clId="{63399361-9180-40E4-91F8-E0ACC087B61D}" dt="2022-11-23T20:25:27.029" v="1283"/>
          <ac:cxnSpMkLst>
            <pc:docMk/>
            <pc:sldMk cId="2028211501" sldId="2147471456"/>
            <ac:cxnSpMk id="13" creationId="{97408E23-DAF3-E4F6-1153-16B5BBDE93BD}"/>
          </ac:cxnSpMkLst>
        </pc:cxnChg>
        <pc:cxnChg chg="del">
          <ac:chgData name="Rochelle Boland" userId="86fda904-73bb-4d24-9ca9-bad9a30c9062" providerId="ADAL" clId="{63399361-9180-40E4-91F8-E0ACC087B61D}" dt="2022-11-23T20:25:27.035" v="1293"/>
          <ac:cxnSpMkLst>
            <pc:docMk/>
            <pc:sldMk cId="2028211501" sldId="2147471456"/>
            <ac:cxnSpMk id="14" creationId="{4FA6C3B9-D13B-7236-D59C-30DA26C475EC}"/>
          </ac:cxnSpMkLst>
        </pc:cxnChg>
        <pc:cxnChg chg="del">
          <ac:chgData name="Rochelle Boland" userId="86fda904-73bb-4d24-9ca9-bad9a30c9062" providerId="ADAL" clId="{63399361-9180-40E4-91F8-E0ACC087B61D}" dt="2022-11-23T20:25:27.037" v="1297"/>
          <ac:cxnSpMkLst>
            <pc:docMk/>
            <pc:sldMk cId="2028211501" sldId="2147471456"/>
            <ac:cxnSpMk id="16" creationId="{3A32C0AC-06AF-CD59-7EFE-8D3B1A72130A}"/>
          </ac:cxnSpMkLst>
        </pc:cxnChg>
        <pc:cxnChg chg="del">
          <ac:chgData name="Rochelle Boland" userId="86fda904-73bb-4d24-9ca9-bad9a30c9062" providerId="ADAL" clId="{63399361-9180-40E4-91F8-E0ACC087B61D}" dt="2022-11-23T20:25:27.028" v="1281"/>
          <ac:cxnSpMkLst>
            <pc:docMk/>
            <pc:sldMk cId="2028211501" sldId="2147471456"/>
            <ac:cxnSpMk id="19" creationId="{31D0E4B1-AEEE-1241-D079-AFE0DA4DDDA4}"/>
          </ac:cxnSpMkLst>
        </pc:cxnChg>
        <pc:cxnChg chg="del">
          <ac:chgData name="Rochelle Boland" userId="86fda904-73bb-4d24-9ca9-bad9a30c9062" providerId="ADAL" clId="{63399361-9180-40E4-91F8-E0ACC087B61D}" dt="2022-11-23T20:25:27.032" v="1289"/>
          <ac:cxnSpMkLst>
            <pc:docMk/>
            <pc:sldMk cId="2028211501" sldId="2147471456"/>
            <ac:cxnSpMk id="23" creationId="{6B0BAE03-E32D-5D42-BC02-C8BF7FE892E8}"/>
          </ac:cxnSpMkLst>
        </pc:cxnChg>
        <pc:cxnChg chg="del">
          <ac:chgData name="Rochelle Boland" userId="86fda904-73bb-4d24-9ca9-bad9a30c9062" providerId="ADAL" clId="{63399361-9180-40E4-91F8-E0ACC087B61D}" dt="2022-11-23T20:25:27.032" v="1287"/>
          <ac:cxnSpMkLst>
            <pc:docMk/>
            <pc:sldMk cId="2028211501" sldId="2147471456"/>
            <ac:cxnSpMk id="24" creationId="{7EFECB82-49E2-854F-BAF7-3C75170FE247}"/>
          </ac:cxnSpMkLst>
        </pc:cxnChg>
        <pc:cxnChg chg="del">
          <ac:chgData name="Rochelle Boland" userId="86fda904-73bb-4d24-9ca9-bad9a30c9062" providerId="ADAL" clId="{63399361-9180-40E4-91F8-E0ACC087B61D}" dt="2022-11-23T20:25:27.030" v="1285"/>
          <ac:cxnSpMkLst>
            <pc:docMk/>
            <pc:sldMk cId="2028211501" sldId="2147471456"/>
            <ac:cxnSpMk id="25" creationId="{91A0FA83-F8AB-F960-5F62-3C53347458BD}"/>
          </ac:cxnSpMkLst>
        </pc:cxnChg>
        <pc:cxnChg chg="add mod replST">
          <ac:chgData name="Rochelle Boland" userId="86fda904-73bb-4d24-9ca9-bad9a30c9062" providerId="ADAL" clId="{63399361-9180-40E4-91F8-E0ACC087B61D}" dt="2022-11-23T20:25:31.145" v="1422"/>
          <ac:cxnSpMkLst>
            <pc:docMk/>
            <pc:sldMk cId="2028211501" sldId="2147471456"/>
            <ac:cxnSpMk id="29" creationId="{CC725658-D1DD-9234-20CB-FE74B99F7536}"/>
          </ac:cxnSpMkLst>
        </pc:cxnChg>
        <pc:cxnChg chg="add mod replST">
          <ac:chgData name="Rochelle Boland" userId="86fda904-73bb-4d24-9ca9-bad9a30c9062" providerId="ADAL" clId="{63399361-9180-40E4-91F8-E0ACC087B61D}" dt="2022-11-23T20:25:31.145" v="1421"/>
          <ac:cxnSpMkLst>
            <pc:docMk/>
            <pc:sldMk cId="2028211501" sldId="2147471456"/>
            <ac:cxnSpMk id="30" creationId="{BE39A26F-5293-54DD-802C-C878F2EDADE6}"/>
          </ac:cxnSpMkLst>
        </pc:cxnChg>
        <pc:cxnChg chg="add mod replST">
          <ac:chgData name="Rochelle Boland" userId="86fda904-73bb-4d24-9ca9-bad9a30c9062" providerId="ADAL" clId="{63399361-9180-40E4-91F8-E0ACC087B61D}" dt="2022-11-23T20:25:31.171" v="1448"/>
          <ac:cxnSpMkLst>
            <pc:docMk/>
            <pc:sldMk cId="2028211501" sldId="2147471456"/>
            <ac:cxnSpMk id="31" creationId="{42C38F87-A262-52A3-2AC1-F919D23ABF28}"/>
          </ac:cxnSpMkLst>
        </pc:cxnChg>
        <pc:cxnChg chg="add mod replST">
          <ac:chgData name="Rochelle Boland" userId="86fda904-73bb-4d24-9ca9-bad9a30c9062" providerId="ADAL" clId="{63399361-9180-40E4-91F8-E0ACC087B61D}" dt="2022-11-23T20:25:31.173" v="1450"/>
          <ac:cxnSpMkLst>
            <pc:docMk/>
            <pc:sldMk cId="2028211501" sldId="2147471456"/>
            <ac:cxnSpMk id="32" creationId="{F35EBA4A-87DB-F010-C186-AFDCD9F6AFEE}"/>
          </ac:cxnSpMkLst>
        </pc:cxnChg>
        <pc:cxnChg chg="add mod replST">
          <ac:chgData name="Rochelle Boland" userId="86fda904-73bb-4d24-9ca9-bad9a30c9062" providerId="ADAL" clId="{63399361-9180-40E4-91F8-E0ACC087B61D}" dt="2022-11-23T20:25:31.169" v="1446"/>
          <ac:cxnSpMkLst>
            <pc:docMk/>
            <pc:sldMk cId="2028211501" sldId="2147471456"/>
            <ac:cxnSpMk id="33" creationId="{8EA7B278-95B1-C822-E074-1130A450D182}"/>
          </ac:cxnSpMkLst>
        </pc:cxnChg>
        <pc:cxnChg chg="add mod replST">
          <ac:chgData name="Rochelle Boland" userId="86fda904-73bb-4d24-9ca9-bad9a30c9062" providerId="ADAL" clId="{63399361-9180-40E4-91F8-E0ACC087B61D}" dt="2022-11-23T20:25:31.146" v="1423"/>
          <ac:cxnSpMkLst>
            <pc:docMk/>
            <pc:sldMk cId="2028211501" sldId="2147471456"/>
            <ac:cxnSpMk id="34" creationId="{3DF452ED-4348-603F-AB20-6A1207CAC1E3}"/>
          </ac:cxnSpMkLst>
        </pc:cxnChg>
        <pc:cxnChg chg="add mod replST">
          <ac:chgData name="Rochelle Boland" userId="86fda904-73bb-4d24-9ca9-bad9a30c9062" providerId="ADAL" clId="{63399361-9180-40E4-91F8-E0ACC087B61D}" dt="2022-11-23T20:25:31.147" v="1424"/>
          <ac:cxnSpMkLst>
            <pc:docMk/>
            <pc:sldMk cId="2028211501" sldId="2147471456"/>
            <ac:cxnSpMk id="35" creationId="{3CC08FF8-7037-1F30-B3E8-F51A20749FE2}"/>
          </ac:cxnSpMkLst>
        </pc:cxnChg>
        <pc:cxnChg chg="add mod replST">
          <ac:chgData name="Rochelle Boland" userId="86fda904-73bb-4d24-9ca9-bad9a30c9062" providerId="ADAL" clId="{63399361-9180-40E4-91F8-E0ACC087B61D}" dt="2022-11-23T20:25:31.169" v="1445"/>
          <ac:cxnSpMkLst>
            <pc:docMk/>
            <pc:sldMk cId="2028211501" sldId="2147471456"/>
            <ac:cxnSpMk id="36" creationId="{8790D505-02A6-567B-9A35-12E00154EA22}"/>
          </ac:cxnSpMkLst>
        </pc:cxnChg>
        <pc:cxnChg chg="add mod replST">
          <ac:chgData name="Rochelle Boland" userId="86fda904-73bb-4d24-9ca9-bad9a30c9062" providerId="ADAL" clId="{63399361-9180-40E4-91F8-E0ACC087B61D}" dt="2022-11-23T20:25:31.168" v="1444"/>
          <ac:cxnSpMkLst>
            <pc:docMk/>
            <pc:sldMk cId="2028211501" sldId="2147471456"/>
            <ac:cxnSpMk id="37" creationId="{ECF52A0E-B28A-3BEB-4E19-5BAC1F1A967C}"/>
          </ac:cxnSpMkLst>
        </pc:cxnChg>
        <pc:cxnChg chg="add mod replST">
          <ac:chgData name="Rochelle Boland" userId="86fda904-73bb-4d24-9ca9-bad9a30c9062" providerId="ADAL" clId="{63399361-9180-40E4-91F8-E0ACC087B61D}" dt="2022-11-23T20:25:31.167" v="1443"/>
          <ac:cxnSpMkLst>
            <pc:docMk/>
            <pc:sldMk cId="2028211501" sldId="2147471456"/>
            <ac:cxnSpMk id="38" creationId="{8C5E7A94-0ABF-8636-B9FF-4597DA3D0430}"/>
          </ac:cxnSpMkLst>
        </pc:cxnChg>
        <pc:cxnChg chg="add mod replST">
          <ac:chgData name="Rochelle Boland" userId="86fda904-73bb-4d24-9ca9-bad9a30c9062" providerId="ADAL" clId="{63399361-9180-40E4-91F8-E0ACC087B61D}" dt="2022-11-23T20:25:31.166" v="1442"/>
          <ac:cxnSpMkLst>
            <pc:docMk/>
            <pc:sldMk cId="2028211501" sldId="2147471456"/>
            <ac:cxnSpMk id="39" creationId="{C9083965-E260-1CFD-CDA9-74286095B271}"/>
          </ac:cxnSpMkLst>
        </pc:cxnChg>
        <pc:cxnChg chg="add mod replST">
          <ac:chgData name="Rochelle Boland" userId="86fda904-73bb-4d24-9ca9-bad9a30c9062" providerId="ADAL" clId="{63399361-9180-40E4-91F8-E0ACC087B61D}" dt="2022-11-23T20:25:31.152" v="1428"/>
          <ac:cxnSpMkLst>
            <pc:docMk/>
            <pc:sldMk cId="2028211501" sldId="2147471456"/>
            <ac:cxnSpMk id="40" creationId="{CBA6302B-CA4D-3BBB-17C0-8CCEFDB95164}"/>
          </ac:cxnSpMkLst>
        </pc:cxnChg>
        <pc:cxnChg chg="add mod replST">
          <ac:chgData name="Rochelle Boland" userId="86fda904-73bb-4d24-9ca9-bad9a30c9062" providerId="ADAL" clId="{63399361-9180-40E4-91F8-E0ACC087B61D}" dt="2022-11-23T20:25:31.165" v="1441"/>
          <ac:cxnSpMkLst>
            <pc:docMk/>
            <pc:sldMk cId="2028211501" sldId="2147471456"/>
            <ac:cxnSpMk id="41" creationId="{D5FF888B-9E18-876D-2D2C-91365009355C}"/>
          </ac:cxnSpMkLst>
        </pc:cxnChg>
        <pc:cxnChg chg="add mod replST">
          <ac:chgData name="Rochelle Boland" userId="86fda904-73bb-4d24-9ca9-bad9a30c9062" providerId="ADAL" clId="{63399361-9180-40E4-91F8-E0ACC087B61D}" dt="2022-11-23T20:25:31.164" v="1440"/>
          <ac:cxnSpMkLst>
            <pc:docMk/>
            <pc:sldMk cId="2028211501" sldId="2147471456"/>
            <ac:cxnSpMk id="42" creationId="{E63E516B-C62D-06DC-7F8C-CF0064963827}"/>
          </ac:cxnSpMkLst>
        </pc:cxnChg>
        <pc:cxnChg chg="add mod replST">
          <ac:chgData name="Rochelle Boland" userId="86fda904-73bb-4d24-9ca9-bad9a30c9062" providerId="ADAL" clId="{63399361-9180-40E4-91F8-E0ACC087B61D}" dt="2022-11-23T20:25:31.151" v="1427"/>
          <ac:cxnSpMkLst>
            <pc:docMk/>
            <pc:sldMk cId="2028211501" sldId="2147471456"/>
            <ac:cxnSpMk id="43" creationId="{00D1BEAA-45C9-29BF-72FB-FB3B95D04BD2}"/>
          </ac:cxnSpMkLst>
        </pc:cxnChg>
        <pc:cxnChg chg="add mod replST">
          <ac:chgData name="Rochelle Boland" userId="86fda904-73bb-4d24-9ca9-bad9a30c9062" providerId="ADAL" clId="{63399361-9180-40E4-91F8-E0ACC087B61D}" dt="2022-11-23T20:25:31.162" v="1438"/>
          <ac:cxnSpMkLst>
            <pc:docMk/>
            <pc:sldMk cId="2028211501" sldId="2147471456"/>
            <ac:cxnSpMk id="44" creationId="{B9E3CAC1-3498-3C03-27C2-A78289BB7640}"/>
          </ac:cxnSpMkLst>
        </pc:cxnChg>
        <pc:cxnChg chg="del">
          <ac:chgData name="Rochelle Boland" userId="86fda904-73bb-4d24-9ca9-bad9a30c9062" providerId="ADAL" clId="{63399361-9180-40E4-91F8-E0ACC087B61D}" dt="2022-11-23T20:25:26.999" v="1239"/>
          <ac:cxnSpMkLst>
            <pc:docMk/>
            <pc:sldMk cId="2028211501" sldId="2147471456"/>
            <ac:cxnSpMk id="45" creationId="{1D22193F-6F87-CF24-315E-C34F2C974679}"/>
          </ac:cxnSpMkLst>
        </pc:cxnChg>
        <pc:cxnChg chg="del">
          <ac:chgData name="Rochelle Boland" userId="86fda904-73bb-4d24-9ca9-bad9a30c9062" providerId="ADAL" clId="{63399361-9180-40E4-91F8-E0ACC087B61D}" dt="2022-11-23T20:25:27.005" v="1247"/>
          <ac:cxnSpMkLst>
            <pc:docMk/>
            <pc:sldMk cId="2028211501" sldId="2147471456"/>
            <ac:cxnSpMk id="46" creationId="{3352189C-C726-E979-8A0F-E5DD693B08D8}"/>
          </ac:cxnSpMkLst>
        </pc:cxnChg>
        <pc:cxnChg chg="del">
          <ac:chgData name="Rochelle Boland" userId="86fda904-73bb-4d24-9ca9-bad9a30c9062" providerId="ADAL" clId="{63399361-9180-40E4-91F8-E0ACC087B61D}" dt="2022-11-23T20:25:27.014" v="1261"/>
          <ac:cxnSpMkLst>
            <pc:docMk/>
            <pc:sldMk cId="2028211501" sldId="2147471456"/>
            <ac:cxnSpMk id="47" creationId="{1F0CD4B0-06FB-B8AB-2449-987ACFC9C6B6}"/>
          </ac:cxnSpMkLst>
        </pc:cxnChg>
        <pc:cxnChg chg="del">
          <ac:chgData name="Rochelle Boland" userId="86fda904-73bb-4d24-9ca9-bad9a30c9062" providerId="ADAL" clId="{63399361-9180-40E4-91F8-E0ACC087B61D}" dt="2022-11-23T20:25:27.009" v="1253"/>
          <ac:cxnSpMkLst>
            <pc:docMk/>
            <pc:sldMk cId="2028211501" sldId="2147471456"/>
            <ac:cxnSpMk id="48" creationId="{14F64C73-0462-D4D6-C9C0-EDA1FA634EC4}"/>
          </ac:cxnSpMkLst>
        </pc:cxnChg>
        <pc:cxnChg chg="del">
          <ac:chgData name="Rochelle Boland" userId="86fda904-73bb-4d24-9ca9-bad9a30c9062" providerId="ADAL" clId="{63399361-9180-40E4-91F8-E0ACC087B61D}" dt="2022-11-23T20:25:27.022" v="1271"/>
          <ac:cxnSpMkLst>
            <pc:docMk/>
            <pc:sldMk cId="2028211501" sldId="2147471456"/>
            <ac:cxnSpMk id="49" creationId="{9C563D43-C71C-06AE-A8EF-FEFC59C0B903}"/>
          </ac:cxnSpMkLst>
        </pc:cxnChg>
        <pc:cxnChg chg="del">
          <ac:chgData name="Rochelle Boland" userId="86fda904-73bb-4d24-9ca9-bad9a30c9062" providerId="ADAL" clId="{63399361-9180-40E4-91F8-E0ACC087B61D}" dt="2022-11-23T20:25:27.004" v="1245"/>
          <ac:cxnSpMkLst>
            <pc:docMk/>
            <pc:sldMk cId="2028211501" sldId="2147471456"/>
            <ac:cxnSpMk id="50" creationId="{2E6A16E9-39A7-EC2F-5145-51D337DA1886}"/>
          </ac:cxnSpMkLst>
        </pc:cxnChg>
        <pc:cxnChg chg="del">
          <ac:chgData name="Rochelle Boland" userId="86fda904-73bb-4d24-9ca9-bad9a30c9062" providerId="ADAL" clId="{63399361-9180-40E4-91F8-E0ACC087B61D}" dt="2022-11-23T20:25:27.019" v="1267"/>
          <ac:cxnSpMkLst>
            <pc:docMk/>
            <pc:sldMk cId="2028211501" sldId="2147471456"/>
            <ac:cxnSpMk id="51" creationId="{2A020E61-0FC1-9B6A-4E67-A9FAA66B9395}"/>
          </ac:cxnSpMkLst>
        </pc:cxnChg>
        <pc:cxnChg chg="del">
          <ac:chgData name="Rochelle Boland" userId="86fda904-73bb-4d24-9ca9-bad9a30c9062" providerId="ADAL" clId="{63399361-9180-40E4-91F8-E0ACC087B61D}" dt="2022-11-23T20:25:27.013" v="1259"/>
          <ac:cxnSpMkLst>
            <pc:docMk/>
            <pc:sldMk cId="2028211501" sldId="2147471456"/>
            <ac:cxnSpMk id="52" creationId="{FCB8519F-B21C-6A2B-41A8-EDA49B394B7C}"/>
          </ac:cxnSpMkLst>
        </pc:cxnChg>
        <pc:cxnChg chg="del">
          <ac:chgData name="Rochelle Boland" userId="86fda904-73bb-4d24-9ca9-bad9a30c9062" providerId="ADAL" clId="{63399361-9180-40E4-91F8-E0ACC087B61D}" dt="2022-11-23T20:25:27.025" v="1277"/>
          <ac:cxnSpMkLst>
            <pc:docMk/>
            <pc:sldMk cId="2028211501" sldId="2147471456"/>
            <ac:cxnSpMk id="53" creationId="{58AB0A00-8644-6286-F166-81A412648BAD}"/>
          </ac:cxnSpMkLst>
        </pc:cxnChg>
        <pc:cxnChg chg="del">
          <ac:chgData name="Rochelle Boland" userId="86fda904-73bb-4d24-9ca9-bad9a30c9062" providerId="ADAL" clId="{63399361-9180-40E4-91F8-E0ACC087B61D}" dt="2022-11-23T20:25:27.025" v="1275"/>
          <ac:cxnSpMkLst>
            <pc:docMk/>
            <pc:sldMk cId="2028211501" sldId="2147471456"/>
            <ac:cxnSpMk id="54" creationId="{496B77B2-A315-B13E-3953-27ED42CB7F08}"/>
          </ac:cxnSpMkLst>
        </pc:cxnChg>
        <pc:cxnChg chg="del">
          <ac:chgData name="Rochelle Boland" userId="86fda904-73bb-4d24-9ca9-bad9a30c9062" providerId="ADAL" clId="{63399361-9180-40E4-91F8-E0ACC087B61D}" dt="2022-11-23T20:25:27.023" v="1273"/>
          <ac:cxnSpMkLst>
            <pc:docMk/>
            <pc:sldMk cId="2028211501" sldId="2147471456"/>
            <ac:cxnSpMk id="55" creationId="{D8F5AC09-C96E-3358-EB3D-0A912C68DDB9}"/>
          </ac:cxnSpMkLst>
        </pc:cxnChg>
        <pc:cxnChg chg="del">
          <ac:chgData name="Rochelle Boland" userId="86fda904-73bb-4d24-9ca9-bad9a30c9062" providerId="ADAL" clId="{63399361-9180-40E4-91F8-E0ACC087B61D}" dt="2022-11-23T20:25:27.027" v="1279"/>
          <ac:cxnSpMkLst>
            <pc:docMk/>
            <pc:sldMk cId="2028211501" sldId="2147471456"/>
            <ac:cxnSpMk id="56" creationId="{360F9DCB-DABE-46E9-5494-3E76B6632982}"/>
          </ac:cxnSpMkLst>
        </pc:cxnChg>
        <pc:cxnChg chg="del">
          <ac:chgData name="Rochelle Boland" userId="86fda904-73bb-4d24-9ca9-bad9a30c9062" providerId="ADAL" clId="{63399361-9180-40E4-91F8-E0ACC087B61D}" dt="2022-11-23T20:25:27.021" v="1269"/>
          <ac:cxnSpMkLst>
            <pc:docMk/>
            <pc:sldMk cId="2028211501" sldId="2147471456"/>
            <ac:cxnSpMk id="57" creationId="{5A90D24C-F536-E3AF-6474-BF379293D1DC}"/>
          </ac:cxnSpMkLst>
        </pc:cxnChg>
        <pc:cxnChg chg="del">
          <ac:chgData name="Rochelle Boland" userId="86fda904-73bb-4d24-9ca9-bad9a30c9062" providerId="ADAL" clId="{63399361-9180-40E4-91F8-E0ACC087B61D}" dt="2022-11-23T20:25:27.017" v="1265"/>
          <ac:cxnSpMkLst>
            <pc:docMk/>
            <pc:sldMk cId="2028211501" sldId="2147471456"/>
            <ac:cxnSpMk id="58" creationId="{1E9DA636-6B81-DE9D-27CB-E1268E28CFD6}"/>
          </ac:cxnSpMkLst>
        </pc:cxnChg>
        <pc:cxnChg chg="del">
          <ac:chgData name="Rochelle Boland" userId="86fda904-73bb-4d24-9ca9-bad9a30c9062" providerId="ADAL" clId="{63399361-9180-40E4-91F8-E0ACC087B61D}" dt="2022-11-23T20:25:27.016" v="1263"/>
          <ac:cxnSpMkLst>
            <pc:docMk/>
            <pc:sldMk cId="2028211501" sldId="2147471456"/>
            <ac:cxnSpMk id="59" creationId="{702FAA0C-E8D7-9BB4-78AC-FA520C0EFA3C}"/>
          </ac:cxnSpMkLst>
        </pc:cxnChg>
        <pc:cxnChg chg="del">
          <ac:chgData name="Rochelle Boland" userId="86fda904-73bb-4d24-9ca9-bad9a30c9062" providerId="ADAL" clId="{63399361-9180-40E4-91F8-E0ACC087B61D}" dt="2022-11-23T20:25:27.012" v="1257"/>
          <ac:cxnSpMkLst>
            <pc:docMk/>
            <pc:sldMk cId="2028211501" sldId="2147471456"/>
            <ac:cxnSpMk id="60" creationId="{8BEA7DBD-CB37-6C9E-173D-B28266BFE3F5}"/>
          </ac:cxnSpMkLst>
        </pc:cxnChg>
        <pc:cxnChg chg="del">
          <ac:chgData name="Rochelle Boland" userId="86fda904-73bb-4d24-9ca9-bad9a30c9062" providerId="ADAL" clId="{63399361-9180-40E4-91F8-E0ACC087B61D}" dt="2022-11-23T20:25:27.010" v="1255"/>
          <ac:cxnSpMkLst>
            <pc:docMk/>
            <pc:sldMk cId="2028211501" sldId="2147471456"/>
            <ac:cxnSpMk id="61" creationId="{9137042F-0968-0877-36C5-83A3F4855EFF}"/>
          </ac:cxnSpMkLst>
        </pc:cxnChg>
        <pc:cxnChg chg="del">
          <ac:chgData name="Rochelle Boland" userId="86fda904-73bb-4d24-9ca9-bad9a30c9062" providerId="ADAL" clId="{63399361-9180-40E4-91F8-E0ACC087B61D}" dt="2022-11-23T20:25:27.008" v="1251"/>
          <ac:cxnSpMkLst>
            <pc:docMk/>
            <pc:sldMk cId="2028211501" sldId="2147471456"/>
            <ac:cxnSpMk id="62" creationId="{C8823F5B-F3FC-EC9F-56DA-556F740F1E71}"/>
          </ac:cxnSpMkLst>
        </pc:cxnChg>
        <pc:cxnChg chg="del">
          <ac:chgData name="Rochelle Boland" userId="86fda904-73bb-4d24-9ca9-bad9a30c9062" providerId="ADAL" clId="{63399361-9180-40E4-91F8-E0ACC087B61D}" dt="2022-11-23T20:25:27.007" v="1249"/>
          <ac:cxnSpMkLst>
            <pc:docMk/>
            <pc:sldMk cId="2028211501" sldId="2147471456"/>
            <ac:cxnSpMk id="63" creationId="{D68F16A9-10C7-002E-0AD3-A4EB5BD8C728}"/>
          </ac:cxnSpMkLst>
        </pc:cxnChg>
        <pc:cxnChg chg="del">
          <ac:chgData name="Rochelle Boland" userId="86fda904-73bb-4d24-9ca9-bad9a30c9062" providerId="ADAL" clId="{63399361-9180-40E4-91F8-E0ACC087B61D}" dt="2022-11-23T20:25:27.002" v="1243"/>
          <ac:cxnSpMkLst>
            <pc:docMk/>
            <pc:sldMk cId="2028211501" sldId="2147471456"/>
            <ac:cxnSpMk id="64" creationId="{DA072899-F674-13EC-939C-B2932B715D39}"/>
          </ac:cxnSpMkLst>
        </pc:cxnChg>
        <pc:cxnChg chg="del">
          <ac:chgData name="Rochelle Boland" userId="86fda904-73bb-4d24-9ca9-bad9a30c9062" providerId="ADAL" clId="{63399361-9180-40E4-91F8-E0ACC087B61D}" dt="2022-11-23T20:25:27.001" v="1241"/>
          <ac:cxnSpMkLst>
            <pc:docMk/>
            <pc:sldMk cId="2028211501" sldId="2147471456"/>
            <ac:cxnSpMk id="65" creationId="{C107A23D-5689-34AC-AC17-39A4774CF15B}"/>
          </ac:cxnSpMkLst>
        </pc:cxnChg>
        <pc:cxnChg chg="del">
          <ac:chgData name="Rochelle Boland" userId="86fda904-73bb-4d24-9ca9-bad9a30c9062" providerId="ADAL" clId="{63399361-9180-40E4-91F8-E0ACC087B61D}" dt="2022-11-23T20:25:27.034" v="1291"/>
          <ac:cxnSpMkLst>
            <pc:docMk/>
            <pc:sldMk cId="2028211501" sldId="2147471456"/>
            <ac:cxnSpMk id="66" creationId="{DB7EB564-61A0-880D-FEB3-9B0E022EC842}"/>
          </ac:cxnSpMkLst>
        </pc:cxnChg>
        <pc:cxnChg chg="add mod replST">
          <ac:chgData name="Rochelle Boland" userId="86fda904-73bb-4d24-9ca9-bad9a30c9062" providerId="ADAL" clId="{63399361-9180-40E4-91F8-E0ACC087B61D}" dt="2022-11-23T20:25:31.159" v="1435"/>
          <ac:cxnSpMkLst>
            <pc:docMk/>
            <pc:sldMk cId="2028211501" sldId="2147471456"/>
            <ac:cxnSpMk id="70" creationId="{C6297FB9-6DB8-BD16-C1C3-E087E5681A98}"/>
          </ac:cxnSpMkLst>
        </pc:cxnChg>
        <pc:cxnChg chg="del">
          <ac:chgData name="Rochelle Boland" userId="86fda904-73bb-4d24-9ca9-bad9a30c9062" providerId="ADAL" clId="{63399361-9180-40E4-91F8-E0ACC087B61D}" dt="2022-11-23T20:25:27.036" v="1295"/>
          <ac:cxnSpMkLst>
            <pc:docMk/>
            <pc:sldMk cId="2028211501" sldId="2147471456"/>
            <ac:cxnSpMk id="71" creationId="{348FDCC8-A96F-95EE-BB1F-599A41B991D7}"/>
          </ac:cxnSpMkLst>
        </pc:cxnChg>
        <pc:cxnChg chg="add mod replST">
          <ac:chgData name="Rochelle Boland" userId="86fda904-73bb-4d24-9ca9-bad9a30c9062" providerId="ADAL" clId="{63399361-9180-40E4-91F8-E0ACC087B61D}" dt="2022-11-23T20:25:31.159" v="1434"/>
          <ac:cxnSpMkLst>
            <pc:docMk/>
            <pc:sldMk cId="2028211501" sldId="2147471456"/>
            <ac:cxnSpMk id="74" creationId="{AFBBFE30-45C2-2F89-A069-F1074DF49E52}"/>
          </ac:cxnSpMkLst>
        </pc:cxnChg>
        <pc:cxnChg chg="add mod replST">
          <ac:chgData name="Rochelle Boland" userId="86fda904-73bb-4d24-9ca9-bad9a30c9062" providerId="ADAL" clId="{63399361-9180-40E4-91F8-E0ACC087B61D}" dt="2022-11-23T20:25:31.155" v="1430"/>
          <ac:cxnSpMkLst>
            <pc:docMk/>
            <pc:sldMk cId="2028211501" sldId="2147471456"/>
            <ac:cxnSpMk id="78" creationId="{39FFFF67-C826-CE80-A74A-320B45110800}"/>
          </ac:cxnSpMkLst>
        </pc:cxnChg>
        <pc:cxnChg chg="add mod replST">
          <ac:chgData name="Rochelle Boland" userId="86fda904-73bb-4d24-9ca9-bad9a30c9062" providerId="ADAL" clId="{63399361-9180-40E4-91F8-E0ACC087B61D}" dt="2022-11-23T20:25:31.157" v="1432"/>
          <ac:cxnSpMkLst>
            <pc:docMk/>
            <pc:sldMk cId="2028211501" sldId="2147471456"/>
            <ac:cxnSpMk id="79" creationId="{E787CA84-E18D-02A8-AE44-DDDF248E2A3E}"/>
          </ac:cxnSpMkLst>
        </pc:cxnChg>
        <pc:cxnChg chg="add mod replST">
          <ac:chgData name="Rochelle Boland" userId="86fda904-73bb-4d24-9ca9-bad9a30c9062" providerId="ADAL" clId="{63399361-9180-40E4-91F8-E0ACC087B61D}" dt="2022-11-23T20:25:31.148" v="1425"/>
          <ac:cxnSpMkLst>
            <pc:docMk/>
            <pc:sldMk cId="2028211501" sldId="2147471456"/>
            <ac:cxnSpMk id="80" creationId="{4B79F955-FCB9-93B6-0B36-653F00F85B14}"/>
          </ac:cxnSpMkLst>
        </pc:cxnChg>
        <pc:cxnChg chg="add mod replST">
          <ac:chgData name="Rochelle Boland" userId="86fda904-73bb-4d24-9ca9-bad9a30c9062" providerId="ADAL" clId="{63399361-9180-40E4-91F8-E0ACC087B61D}" dt="2022-11-23T20:25:31.156" v="1431"/>
          <ac:cxnSpMkLst>
            <pc:docMk/>
            <pc:sldMk cId="2028211501" sldId="2147471456"/>
            <ac:cxnSpMk id="81" creationId="{26FE070A-C742-2A32-7009-06A851276226}"/>
          </ac:cxnSpMkLst>
        </pc:cxnChg>
        <pc:cxnChg chg="add mod replST">
          <ac:chgData name="Rochelle Boland" userId="86fda904-73bb-4d24-9ca9-bad9a30c9062" providerId="ADAL" clId="{63399361-9180-40E4-91F8-E0ACC087B61D}" dt="2022-11-23T20:25:31.161" v="1437"/>
          <ac:cxnSpMkLst>
            <pc:docMk/>
            <pc:sldMk cId="2028211501" sldId="2147471456"/>
            <ac:cxnSpMk id="82" creationId="{96940E01-62D7-C3D1-4EE6-BDF7BEEF04EA}"/>
          </ac:cxnSpMkLst>
        </pc:cxnChg>
        <pc:cxnChg chg="add mod replST">
          <ac:chgData name="Rochelle Boland" userId="86fda904-73bb-4d24-9ca9-bad9a30c9062" providerId="ADAL" clId="{63399361-9180-40E4-91F8-E0ACC087B61D}" dt="2022-11-23T20:25:31.158" v="1433"/>
          <ac:cxnSpMkLst>
            <pc:docMk/>
            <pc:sldMk cId="2028211501" sldId="2147471456"/>
            <ac:cxnSpMk id="83" creationId="{D2E1A618-8967-2454-877B-154D950ED3E2}"/>
          </ac:cxnSpMkLst>
        </pc:cxnChg>
        <pc:cxnChg chg="add mod replST">
          <ac:chgData name="Rochelle Boland" userId="86fda904-73bb-4d24-9ca9-bad9a30c9062" providerId="ADAL" clId="{63399361-9180-40E4-91F8-E0ACC087B61D}" dt="2022-11-23T20:25:31.153" v="1429"/>
          <ac:cxnSpMkLst>
            <pc:docMk/>
            <pc:sldMk cId="2028211501" sldId="2147471456"/>
            <ac:cxnSpMk id="84" creationId="{4BD235DA-E834-9954-A4A9-1C66DCE01AA2}"/>
          </ac:cxnSpMkLst>
        </pc:cxnChg>
        <pc:cxnChg chg="add mod replST">
          <ac:chgData name="Rochelle Boland" userId="86fda904-73bb-4d24-9ca9-bad9a30c9062" providerId="ADAL" clId="{63399361-9180-40E4-91F8-E0ACC087B61D}" dt="2022-11-23T20:25:31.149" v="1426"/>
          <ac:cxnSpMkLst>
            <pc:docMk/>
            <pc:sldMk cId="2028211501" sldId="2147471456"/>
            <ac:cxnSpMk id="85" creationId="{19ACF664-B59A-7FB4-EB95-23E6C5409A01}"/>
          </ac:cxnSpMkLst>
        </pc:cxnChg>
        <pc:cxnChg chg="add mod replST">
          <ac:chgData name="Rochelle Boland" userId="86fda904-73bb-4d24-9ca9-bad9a30c9062" providerId="ADAL" clId="{63399361-9180-40E4-91F8-E0ACC087B61D}" dt="2022-11-23T20:25:31.161" v="1436"/>
          <ac:cxnSpMkLst>
            <pc:docMk/>
            <pc:sldMk cId="2028211501" sldId="2147471456"/>
            <ac:cxnSpMk id="86" creationId="{E1912CE0-B033-377C-24E6-44CFE902C488}"/>
          </ac:cxnSpMkLst>
        </pc:cxnChg>
        <pc:cxnChg chg="add mod replST">
          <ac:chgData name="Rochelle Boland" userId="86fda904-73bb-4d24-9ca9-bad9a30c9062" providerId="ADAL" clId="{63399361-9180-40E4-91F8-E0ACC087B61D}" dt="2022-11-23T20:25:31.163" v="1439"/>
          <ac:cxnSpMkLst>
            <pc:docMk/>
            <pc:sldMk cId="2028211501" sldId="2147471456"/>
            <ac:cxnSpMk id="89" creationId="{57A055A7-D9C2-773D-8B32-49EACE9D1B2E}"/>
          </ac:cxnSpMkLst>
        </pc:cxnChg>
        <pc:cxnChg chg="add mod replST">
          <ac:chgData name="Rochelle Boland" userId="86fda904-73bb-4d24-9ca9-bad9a30c9062" providerId="ADAL" clId="{63399361-9180-40E4-91F8-E0ACC087B61D}" dt="2022-11-23T20:25:31.172" v="1449"/>
          <ac:cxnSpMkLst>
            <pc:docMk/>
            <pc:sldMk cId="2028211501" sldId="2147471456"/>
            <ac:cxnSpMk id="90" creationId="{8343F71B-19B8-29B0-D845-71366EDE0880}"/>
          </ac:cxnSpMkLst>
        </pc:cxnChg>
        <pc:cxnChg chg="add mod replST">
          <ac:chgData name="Rochelle Boland" userId="86fda904-73bb-4d24-9ca9-bad9a30c9062" providerId="ADAL" clId="{63399361-9180-40E4-91F8-E0ACC087B61D}" dt="2022-11-23T20:25:31.170" v="1447"/>
          <ac:cxnSpMkLst>
            <pc:docMk/>
            <pc:sldMk cId="2028211501" sldId="2147471456"/>
            <ac:cxnSpMk id="91" creationId="{846D3F3B-6D32-5C0B-501E-836F2E5722F7}"/>
          </ac:cxnSpMkLst>
        </pc:cxnChg>
      </pc:sldChg>
      <pc:sldChg chg="addSp modSp mod">
        <pc:chgData name="Rochelle Boland" userId="86fda904-73bb-4d24-9ca9-bad9a30c9062" providerId="ADAL" clId="{63399361-9180-40E4-91F8-E0ACC087B61D}" dt="2022-11-23T20:19:02.134" v="525" actId="1037"/>
        <pc:sldMkLst>
          <pc:docMk/>
          <pc:sldMk cId="1682344078" sldId="2147471463"/>
        </pc:sldMkLst>
        <pc:spChg chg="add mod">
          <ac:chgData name="Rochelle Boland" userId="86fda904-73bb-4d24-9ca9-bad9a30c9062" providerId="ADAL" clId="{63399361-9180-40E4-91F8-E0ACC087B61D}" dt="2022-11-23T20:18:34.837" v="464"/>
          <ac:spMkLst>
            <pc:docMk/>
            <pc:sldMk cId="1682344078" sldId="2147471463"/>
            <ac:spMk id="3" creationId="{FBC67946-2B91-A618-8920-4D78829C3473}"/>
          </ac:spMkLst>
        </pc:spChg>
        <pc:graphicFrameChg chg="mod">
          <ac:chgData name="Rochelle Boland" userId="86fda904-73bb-4d24-9ca9-bad9a30c9062" providerId="ADAL" clId="{63399361-9180-40E4-91F8-E0ACC087B61D}" dt="2022-11-23T20:19:02.134" v="525" actId="1037"/>
          <ac:graphicFrameMkLst>
            <pc:docMk/>
            <pc:sldMk cId="1682344078" sldId="2147471463"/>
            <ac:graphicFrameMk id="27" creationId="{D4CFD871-8552-76FE-C9FD-3ED5E241E6ED}"/>
          </ac:graphicFrameMkLst>
        </pc:graphicFrameChg>
        <pc:graphicFrameChg chg="mod">
          <ac:chgData name="Rochelle Boland" userId="86fda904-73bb-4d24-9ca9-bad9a30c9062" providerId="ADAL" clId="{63399361-9180-40E4-91F8-E0ACC087B61D}" dt="2022-11-23T20:19:02.134" v="525" actId="1037"/>
          <ac:graphicFrameMkLst>
            <pc:docMk/>
            <pc:sldMk cId="1682344078" sldId="2147471463"/>
            <ac:graphicFrameMk id="33" creationId="{86B18F55-0B55-86B6-6F75-C8384756A248}"/>
          </ac:graphicFrameMkLst>
        </pc:graphicFrameChg>
        <pc:graphicFrameChg chg="mod">
          <ac:chgData name="Rochelle Boland" userId="86fda904-73bb-4d24-9ca9-bad9a30c9062" providerId="ADAL" clId="{63399361-9180-40E4-91F8-E0ACC087B61D}" dt="2022-11-23T20:19:02.134" v="525" actId="1037"/>
          <ac:graphicFrameMkLst>
            <pc:docMk/>
            <pc:sldMk cId="1682344078" sldId="2147471463"/>
            <ac:graphicFrameMk id="35" creationId="{6AB15E21-D088-A4FD-408D-60D109A74CE5}"/>
          </ac:graphicFrameMkLst>
        </pc:graphicFrameChg>
        <pc:graphicFrameChg chg="mod">
          <ac:chgData name="Rochelle Boland" userId="86fda904-73bb-4d24-9ca9-bad9a30c9062" providerId="ADAL" clId="{63399361-9180-40E4-91F8-E0ACC087B61D}" dt="2022-11-23T20:19:02.134" v="525" actId="1037"/>
          <ac:graphicFrameMkLst>
            <pc:docMk/>
            <pc:sldMk cId="1682344078" sldId="2147471463"/>
            <ac:graphicFrameMk id="38" creationId="{8BF312AE-3BE6-804E-E41E-33DFC2E65AA4}"/>
          </ac:graphicFrameMkLst>
        </pc:graphicFrameChg>
      </pc:sldChg>
      <pc:sldChg chg="modSp mod">
        <pc:chgData name="Rochelle Boland" userId="86fda904-73bb-4d24-9ca9-bad9a30c9062" providerId="ADAL" clId="{63399361-9180-40E4-91F8-E0ACC087B61D}" dt="2022-11-23T20:33:58.968" v="2901" actId="20577"/>
        <pc:sldMkLst>
          <pc:docMk/>
          <pc:sldMk cId="3961653455" sldId="2147471474"/>
        </pc:sldMkLst>
        <pc:spChg chg="mod">
          <ac:chgData name="Rochelle Boland" userId="86fda904-73bb-4d24-9ca9-bad9a30c9062" providerId="ADAL" clId="{63399361-9180-40E4-91F8-E0ACC087B61D}" dt="2022-11-23T20:33:58.968" v="2901" actId="20577"/>
          <ac:spMkLst>
            <pc:docMk/>
            <pc:sldMk cId="3961653455" sldId="2147471474"/>
            <ac:spMk id="38" creationId="{DA0F549F-F58E-32BA-F999-6C0EEF36F129}"/>
          </ac:spMkLst>
        </pc:spChg>
      </pc:sldChg>
      <pc:sldChg chg="addSp delSp modSp mod">
        <pc:chgData name="Rochelle Boland" userId="86fda904-73bb-4d24-9ca9-bad9a30c9062" providerId="ADAL" clId="{63399361-9180-40E4-91F8-E0ACC087B61D}" dt="2022-11-23T20:13:37.460" v="403"/>
        <pc:sldMkLst>
          <pc:docMk/>
          <pc:sldMk cId="1342349839" sldId="2147471485"/>
        </pc:sldMkLst>
        <pc:spChg chg="mod">
          <ac:chgData name="Rochelle Boland" userId="86fda904-73bb-4d24-9ca9-bad9a30c9062" providerId="ADAL" clId="{63399361-9180-40E4-91F8-E0ACC087B61D}" dt="2022-11-23T20:13:36.870" v="332" actId="948"/>
          <ac:spMkLst>
            <pc:docMk/>
            <pc:sldMk cId="1342349839" sldId="2147471485"/>
            <ac:spMk id="2" creationId="{0FA0D718-E49E-0CBB-C450-E246864E2E3B}"/>
          </ac:spMkLst>
        </pc:spChg>
        <pc:spChg chg="mod">
          <ac:chgData name="Rochelle Boland" userId="86fda904-73bb-4d24-9ca9-bad9a30c9062" providerId="ADAL" clId="{63399361-9180-40E4-91F8-E0ACC087B61D}" dt="2022-11-23T20:13:37.336" v="391"/>
          <ac:spMkLst>
            <pc:docMk/>
            <pc:sldMk cId="1342349839" sldId="2147471485"/>
            <ac:spMk id="6" creationId="{3BAF453F-B21D-63B5-3192-281B7C51FE7D}"/>
          </ac:spMkLst>
        </pc:spChg>
        <pc:spChg chg="mod">
          <ac:chgData name="Rochelle Boland" userId="86fda904-73bb-4d24-9ca9-bad9a30c9062" providerId="ADAL" clId="{63399361-9180-40E4-91F8-E0ACC087B61D}" dt="2022-11-23T20:13:37.339" v="392"/>
          <ac:spMkLst>
            <pc:docMk/>
            <pc:sldMk cId="1342349839" sldId="2147471485"/>
            <ac:spMk id="7" creationId="{632CD482-3AE1-AEBE-DC73-92F6B4A7EB2D}"/>
          </ac:spMkLst>
        </pc:spChg>
        <pc:spChg chg="mod">
          <ac:chgData name="Rochelle Boland" userId="86fda904-73bb-4d24-9ca9-bad9a30c9062" providerId="ADAL" clId="{63399361-9180-40E4-91F8-E0ACC087B61D}" dt="2022-11-23T20:13:37.344" v="393"/>
          <ac:spMkLst>
            <pc:docMk/>
            <pc:sldMk cId="1342349839" sldId="2147471485"/>
            <ac:spMk id="8" creationId="{A814811D-78B3-3584-01EC-1FFEC0D5A2D5}"/>
          </ac:spMkLst>
        </pc:spChg>
        <pc:spChg chg="mod">
          <ac:chgData name="Rochelle Boland" userId="86fda904-73bb-4d24-9ca9-bad9a30c9062" providerId="ADAL" clId="{63399361-9180-40E4-91F8-E0ACC087B61D}" dt="2022-11-23T20:13:37.348" v="394"/>
          <ac:spMkLst>
            <pc:docMk/>
            <pc:sldMk cId="1342349839" sldId="2147471485"/>
            <ac:spMk id="9" creationId="{F070FB86-CE32-35E4-7641-B55A82E6D854}"/>
          </ac:spMkLst>
        </pc:spChg>
        <pc:spChg chg="mod">
          <ac:chgData name="Rochelle Boland" userId="86fda904-73bb-4d24-9ca9-bad9a30c9062" providerId="ADAL" clId="{63399361-9180-40E4-91F8-E0ACC087B61D}" dt="2022-11-23T20:13:37.352" v="395"/>
          <ac:spMkLst>
            <pc:docMk/>
            <pc:sldMk cId="1342349839" sldId="2147471485"/>
            <ac:spMk id="10" creationId="{2F63E0E2-1094-1230-BE7A-933B1AABB6EE}"/>
          </ac:spMkLst>
        </pc:spChg>
        <pc:spChg chg="mod">
          <ac:chgData name="Rochelle Boland" userId="86fda904-73bb-4d24-9ca9-bad9a30c9062" providerId="ADAL" clId="{63399361-9180-40E4-91F8-E0ACC087B61D}" dt="2022-11-23T20:13:37.356" v="396"/>
          <ac:spMkLst>
            <pc:docMk/>
            <pc:sldMk cId="1342349839" sldId="2147471485"/>
            <ac:spMk id="11" creationId="{3F90B5D8-1075-B31A-256A-2D4FFFDB6D7C}"/>
          </ac:spMkLst>
        </pc:spChg>
        <pc:spChg chg="mod">
          <ac:chgData name="Rochelle Boland" userId="86fda904-73bb-4d24-9ca9-bad9a30c9062" providerId="ADAL" clId="{63399361-9180-40E4-91F8-E0ACC087B61D}" dt="2022-11-23T20:13:37.359" v="397"/>
          <ac:spMkLst>
            <pc:docMk/>
            <pc:sldMk cId="1342349839" sldId="2147471485"/>
            <ac:spMk id="12" creationId="{CBE795A9-F446-B523-E210-A9D8DBECE72C}"/>
          </ac:spMkLst>
        </pc:spChg>
        <pc:spChg chg="add del mod modVis">
          <ac:chgData name="Rochelle Boland" userId="86fda904-73bb-4d24-9ca9-bad9a30c9062" providerId="ADAL" clId="{63399361-9180-40E4-91F8-E0ACC087B61D}" dt="2022-11-23T20:13:32.863" v="318"/>
          <ac:spMkLst>
            <pc:docMk/>
            <pc:sldMk cId="1342349839" sldId="2147471485"/>
            <ac:spMk id="15" creationId="{5483E27F-953C-AA76-444B-BE0E801E9D69}"/>
          </ac:spMkLst>
        </pc:spChg>
        <pc:spChg chg="add del mod modVis">
          <ac:chgData name="Rochelle Boland" userId="86fda904-73bb-4d24-9ca9-bad9a30c9062" providerId="ADAL" clId="{63399361-9180-40E4-91F8-E0ACC087B61D}" dt="2022-11-23T20:13:37.415" v="401"/>
          <ac:spMkLst>
            <pc:docMk/>
            <pc:sldMk cId="1342349839" sldId="2147471485"/>
            <ac:spMk id="17" creationId="{7E36BA39-3911-5364-F2AC-972EFBEF66A6}"/>
          </ac:spMkLst>
        </pc:spChg>
        <pc:spChg chg="mod">
          <ac:chgData name="Rochelle Boland" userId="86fda904-73bb-4d24-9ca9-bad9a30c9062" providerId="ADAL" clId="{63399361-9180-40E4-91F8-E0ACC087B61D}" dt="2022-11-23T20:13:36.911" v="338"/>
          <ac:spMkLst>
            <pc:docMk/>
            <pc:sldMk cId="1342349839" sldId="2147471485"/>
            <ac:spMk id="69" creationId="{8E0DE4B5-1208-64E4-9247-A013BDB71BAC}"/>
          </ac:spMkLst>
        </pc:spChg>
        <pc:spChg chg="mod">
          <ac:chgData name="Rochelle Boland" userId="86fda904-73bb-4d24-9ca9-bad9a30c9062" providerId="ADAL" clId="{63399361-9180-40E4-91F8-E0ACC087B61D}" dt="2022-11-23T20:13:36.920" v="340"/>
          <ac:spMkLst>
            <pc:docMk/>
            <pc:sldMk cId="1342349839" sldId="2147471485"/>
            <ac:spMk id="93" creationId="{E1DDCF6C-6680-D877-7888-9F6CB486BB1B}"/>
          </ac:spMkLst>
        </pc:spChg>
        <pc:spChg chg="mod">
          <ac:chgData name="Rochelle Boland" userId="86fda904-73bb-4d24-9ca9-bad9a30c9062" providerId="ADAL" clId="{63399361-9180-40E4-91F8-E0ACC087B61D}" dt="2022-11-23T20:13:36.915" v="339"/>
          <ac:spMkLst>
            <pc:docMk/>
            <pc:sldMk cId="1342349839" sldId="2147471485"/>
            <ac:spMk id="114" creationId="{4DDF63C4-9881-A3ED-181B-D095D8FA0678}"/>
          </ac:spMkLst>
        </pc:spChg>
        <pc:spChg chg="mod">
          <ac:chgData name="Rochelle Boland" userId="86fda904-73bb-4d24-9ca9-bad9a30c9062" providerId="ADAL" clId="{63399361-9180-40E4-91F8-E0ACC087B61D}" dt="2022-11-23T20:13:36.883" v="333"/>
          <ac:spMkLst>
            <pc:docMk/>
            <pc:sldMk cId="1342349839" sldId="2147471485"/>
            <ac:spMk id="117" creationId="{FE5D2180-13FC-C820-0D23-27897C54AB7D}"/>
          </ac:spMkLst>
        </pc:spChg>
        <pc:spChg chg="mod">
          <ac:chgData name="Rochelle Boland" userId="86fda904-73bb-4d24-9ca9-bad9a30c9062" providerId="ADAL" clId="{63399361-9180-40E4-91F8-E0ACC087B61D}" dt="2022-11-23T20:13:36.894" v="334"/>
          <ac:spMkLst>
            <pc:docMk/>
            <pc:sldMk cId="1342349839" sldId="2147471485"/>
            <ac:spMk id="119" creationId="{31D5349D-4CC9-71EA-408C-E1821F1C5C4D}"/>
          </ac:spMkLst>
        </pc:spChg>
        <pc:spChg chg="mod">
          <ac:chgData name="Rochelle Boland" userId="86fda904-73bb-4d24-9ca9-bad9a30c9062" providerId="ADAL" clId="{63399361-9180-40E4-91F8-E0ACC087B61D}" dt="2022-11-23T20:13:36.899" v="335"/>
          <ac:spMkLst>
            <pc:docMk/>
            <pc:sldMk cId="1342349839" sldId="2147471485"/>
            <ac:spMk id="121" creationId="{DB3F2855-CFD9-6B40-5A4F-4270A6515471}"/>
          </ac:spMkLst>
        </pc:spChg>
        <pc:spChg chg="mod">
          <ac:chgData name="Rochelle Boland" userId="86fda904-73bb-4d24-9ca9-bad9a30c9062" providerId="ADAL" clId="{63399361-9180-40E4-91F8-E0ACC087B61D}" dt="2022-11-23T20:13:37.192" v="387"/>
          <ac:spMkLst>
            <pc:docMk/>
            <pc:sldMk cId="1342349839" sldId="2147471485"/>
            <ac:spMk id="123" creationId="{31F1E6C2-F2E5-D398-ED2E-B40D041089A8}"/>
          </ac:spMkLst>
        </pc:spChg>
        <pc:spChg chg="mod">
          <ac:chgData name="Rochelle Boland" userId="86fda904-73bb-4d24-9ca9-bad9a30c9062" providerId="ADAL" clId="{63399361-9180-40E4-91F8-E0ACC087B61D}" dt="2022-11-23T20:13:36.930" v="343"/>
          <ac:spMkLst>
            <pc:docMk/>
            <pc:sldMk cId="1342349839" sldId="2147471485"/>
            <ac:spMk id="125" creationId="{8EA255C5-4B5C-189F-7145-E2CC1E84AC31}"/>
          </ac:spMkLst>
        </pc:spChg>
        <pc:spChg chg="mod">
          <ac:chgData name="Rochelle Boland" userId="86fda904-73bb-4d24-9ca9-bad9a30c9062" providerId="ADAL" clId="{63399361-9180-40E4-91F8-E0ACC087B61D}" dt="2022-11-23T20:13:36.927" v="342"/>
          <ac:spMkLst>
            <pc:docMk/>
            <pc:sldMk cId="1342349839" sldId="2147471485"/>
            <ac:spMk id="127" creationId="{7CB45B0E-68F8-15E1-B198-3F9C1FC258D0}"/>
          </ac:spMkLst>
        </pc:spChg>
        <pc:spChg chg="mod">
          <ac:chgData name="Rochelle Boland" userId="86fda904-73bb-4d24-9ca9-bad9a30c9062" providerId="ADAL" clId="{63399361-9180-40E4-91F8-E0ACC087B61D}" dt="2022-11-23T20:13:36.934" v="344"/>
          <ac:spMkLst>
            <pc:docMk/>
            <pc:sldMk cId="1342349839" sldId="2147471485"/>
            <ac:spMk id="128" creationId="{6847B283-1B9C-330F-8790-A7A8403ABC27}"/>
          </ac:spMkLst>
        </pc:spChg>
        <pc:spChg chg="mod">
          <ac:chgData name="Rochelle Boland" userId="86fda904-73bb-4d24-9ca9-bad9a30c9062" providerId="ADAL" clId="{63399361-9180-40E4-91F8-E0ACC087B61D}" dt="2022-11-23T20:13:36.944" v="347"/>
          <ac:spMkLst>
            <pc:docMk/>
            <pc:sldMk cId="1342349839" sldId="2147471485"/>
            <ac:spMk id="129" creationId="{5A2886DF-1C0D-272F-BCA9-B7E1CCF74215}"/>
          </ac:spMkLst>
        </pc:spChg>
        <pc:spChg chg="mod">
          <ac:chgData name="Rochelle Boland" userId="86fda904-73bb-4d24-9ca9-bad9a30c9062" providerId="ADAL" clId="{63399361-9180-40E4-91F8-E0ACC087B61D}" dt="2022-11-23T20:13:37.197" v="388"/>
          <ac:spMkLst>
            <pc:docMk/>
            <pc:sldMk cId="1342349839" sldId="2147471485"/>
            <ac:spMk id="131" creationId="{25226CD5-EE3E-DD17-3BB5-B7F4C980CD93}"/>
          </ac:spMkLst>
        </pc:spChg>
        <pc:spChg chg="mod">
          <ac:chgData name="Rochelle Boland" userId="86fda904-73bb-4d24-9ca9-bad9a30c9062" providerId="ADAL" clId="{63399361-9180-40E4-91F8-E0ACC087B61D}" dt="2022-11-23T20:13:36.924" v="341"/>
          <ac:spMkLst>
            <pc:docMk/>
            <pc:sldMk cId="1342349839" sldId="2147471485"/>
            <ac:spMk id="132" creationId="{CCAF67C8-6027-6EC0-FED7-33C0E4E01F50}"/>
          </ac:spMkLst>
        </pc:spChg>
        <pc:spChg chg="mod">
          <ac:chgData name="Rochelle Boland" userId="86fda904-73bb-4d24-9ca9-bad9a30c9062" providerId="ADAL" clId="{63399361-9180-40E4-91F8-E0ACC087B61D}" dt="2022-11-23T20:13:36.938" v="345"/>
          <ac:spMkLst>
            <pc:docMk/>
            <pc:sldMk cId="1342349839" sldId="2147471485"/>
            <ac:spMk id="134" creationId="{5FC180D8-DA9F-4834-4637-4AF269F9120D}"/>
          </ac:spMkLst>
        </pc:spChg>
        <pc:spChg chg="mod">
          <ac:chgData name="Rochelle Boland" userId="86fda904-73bb-4d24-9ca9-bad9a30c9062" providerId="ADAL" clId="{63399361-9180-40E4-91F8-E0ACC087B61D}" dt="2022-11-23T20:13:36.941" v="346"/>
          <ac:spMkLst>
            <pc:docMk/>
            <pc:sldMk cId="1342349839" sldId="2147471485"/>
            <ac:spMk id="136" creationId="{44D393C8-C831-856B-9ABD-5B0E9D89E933}"/>
          </ac:spMkLst>
        </pc:spChg>
        <pc:spChg chg="mod">
          <ac:chgData name="Rochelle Boland" userId="86fda904-73bb-4d24-9ca9-bad9a30c9062" providerId="ADAL" clId="{63399361-9180-40E4-91F8-E0ACC087B61D}" dt="2022-11-23T20:13:37.328" v="390"/>
          <ac:spMkLst>
            <pc:docMk/>
            <pc:sldMk cId="1342349839" sldId="2147471485"/>
            <ac:spMk id="137" creationId="{D8C1E19D-97D4-6F58-4B05-AD30D09DC694}"/>
          </ac:spMkLst>
        </pc:spChg>
        <pc:spChg chg="mod">
          <ac:chgData name="Rochelle Boland" userId="86fda904-73bb-4d24-9ca9-bad9a30c9062" providerId="ADAL" clId="{63399361-9180-40E4-91F8-E0ACC087B61D}" dt="2022-11-23T20:13:36.907" v="337"/>
          <ac:spMkLst>
            <pc:docMk/>
            <pc:sldMk cId="1342349839" sldId="2147471485"/>
            <ac:spMk id="140" creationId="{F63F4E5C-C653-01EC-E28F-B464FB47E276}"/>
          </ac:spMkLst>
        </pc:spChg>
        <pc:spChg chg="mod">
          <ac:chgData name="Rochelle Boland" userId="86fda904-73bb-4d24-9ca9-bad9a30c9062" providerId="ADAL" clId="{63399361-9180-40E4-91F8-E0ACC087B61D}" dt="2022-11-23T20:13:36.902" v="336"/>
          <ac:spMkLst>
            <pc:docMk/>
            <pc:sldMk cId="1342349839" sldId="2147471485"/>
            <ac:spMk id="141" creationId="{C9DAF32D-36AE-41EB-7CCE-CC3950C48C3B}"/>
          </ac:spMkLst>
        </pc:spChg>
        <pc:spChg chg="mod">
          <ac:chgData name="Rochelle Boland" userId="86fda904-73bb-4d24-9ca9-bad9a30c9062" providerId="ADAL" clId="{63399361-9180-40E4-91F8-E0ACC087B61D}" dt="2022-11-23T20:13:36.949" v="348"/>
          <ac:spMkLst>
            <pc:docMk/>
            <pc:sldMk cId="1342349839" sldId="2147471485"/>
            <ac:spMk id="142" creationId="{0227BD98-5406-B296-7D37-89834D31F712}"/>
          </ac:spMkLst>
        </pc:spChg>
        <pc:graphicFrameChg chg="mod">
          <ac:chgData name="Rochelle Boland" userId="86fda904-73bb-4d24-9ca9-bad9a30c9062" providerId="ADAL" clId="{63399361-9180-40E4-91F8-E0ACC087B61D}" dt="2022-11-23T20:13:37.460" v="403"/>
          <ac:graphicFrameMkLst>
            <pc:docMk/>
            <pc:sldMk cId="1342349839" sldId="2147471485"/>
            <ac:graphicFrameMk id="5" creationId="{28422D06-2229-6E64-B273-7B2A487F59F1}"/>
          </ac:graphicFrameMkLst>
        </pc:graphicFrameChg>
      </pc:sldChg>
      <pc:sldChg chg="modSp mod">
        <pc:chgData name="Rochelle Boland" userId="86fda904-73bb-4d24-9ca9-bad9a30c9062" providerId="ADAL" clId="{63399361-9180-40E4-91F8-E0ACC087B61D}" dt="2022-11-23T20:17:32.091" v="463" actId="20577"/>
        <pc:sldMkLst>
          <pc:docMk/>
          <pc:sldMk cId="2027960047" sldId="2147471486"/>
        </pc:sldMkLst>
        <pc:spChg chg="mod">
          <ac:chgData name="Rochelle Boland" userId="86fda904-73bb-4d24-9ca9-bad9a30c9062" providerId="ADAL" clId="{63399361-9180-40E4-91F8-E0ACC087B61D}" dt="2022-11-23T20:17:32.091" v="463" actId="20577"/>
          <ac:spMkLst>
            <pc:docMk/>
            <pc:sldMk cId="2027960047" sldId="2147471486"/>
            <ac:spMk id="2" creationId="{A62FF50D-7945-0890-AE77-6697964364A8}"/>
          </ac:spMkLst>
        </pc:spChg>
      </pc:sldChg>
      <pc:sldChg chg="addSp delSp modSp del mod">
        <pc:chgData name="Rochelle Boland" userId="86fda904-73bb-4d24-9ca9-bad9a30c9062" providerId="ADAL" clId="{63399361-9180-40E4-91F8-E0ACC087B61D}" dt="2022-11-23T20:24:39.213" v="1159" actId="47"/>
        <pc:sldMkLst>
          <pc:docMk/>
          <pc:sldMk cId="783072481" sldId="2147471490"/>
        </pc:sldMkLst>
        <pc:spChg chg="mod">
          <ac:chgData name="Rochelle Boland" userId="86fda904-73bb-4d24-9ca9-bad9a30c9062" providerId="ADAL" clId="{63399361-9180-40E4-91F8-E0ACC087B61D}" dt="2022-11-23T20:24:27.248" v="1115" actId="948"/>
          <ac:spMkLst>
            <pc:docMk/>
            <pc:sldMk cId="783072481" sldId="2147471490"/>
            <ac:spMk id="2" creationId="{E54A37DA-E6F3-4A3A-8F19-FC8BDC38C7AB}"/>
          </ac:spMkLst>
        </pc:spChg>
        <pc:spChg chg="add del mod modVis">
          <ac:chgData name="Rochelle Boland" userId="86fda904-73bb-4d24-9ca9-bad9a30c9062" providerId="ADAL" clId="{63399361-9180-40E4-91F8-E0ACC087B61D}" dt="2022-11-23T20:21:23.904" v="788"/>
          <ac:spMkLst>
            <pc:docMk/>
            <pc:sldMk cId="783072481" sldId="2147471490"/>
            <ac:spMk id="3" creationId="{6E9D61A0-BC97-074E-B679-017492A80386}"/>
          </ac:spMkLst>
        </pc:spChg>
        <pc:spChg chg="add del mod modVis">
          <ac:chgData name="Rochelle Boland" userId="86fda904-73bb-4d24-9ca9-bad9a30c9062" providerId="ADAL" clId="{63399361-9180-40E4-91F8-E0ACC087B61D}" dt="2022-11-23T20:21:25.210" v="835"/>
          <ac:spMkLst>
            <pc:docMk/>
            <pc:sldMk cId="783072481" sldId="2147471490"/>
            <ac:spMk id="7" creationId="{5860BD7E-CB00-FF69-465E-7B0007C87DF1}"/>
          </ac:spMkLst>
        </pc:spChg>
        <pc:spChg chg="add del mod modVis">
          <ac:chgData name="Rochelle Boland" userId="86fda904-73bb-4d24-9ca9-bad9a30c9062" providerId="ADAL" clId="{63399361-9180-40E4-91F8-E0ACC087B61D}" dt="2022-11-23T20:21:26.206" v="880"/>
          <ac:spMkLst>
            <pc:docMk/>
            <pc:sldMk cId="783072481" sldId="2147471490"/>
            <ac:spMk id="8" creationId="{23825D2A-6621-0C88-CEF4-36FBC327C5EB}"/>
          </ac:spMkLst>
        </pc:spChg>
        <pc:spChg chg="del">
          <ac:chgData name="Rochelle Boland" userId="86fda904-73bb-4d24-9ca9-bad9a30c9062" providerId="ADAL" clId="{63399361-9180-40E4-91F8-E0ACC087B61D}" dt="2022-11-23T20:22:06.395" v="934" actId="478"/>
          <ac:spMkLst>
            <pc:docMk/>
            <pc:sldMk cId="783072481" sldId="2147471490"/>
            <ac:spMk id="9" creationId="{8823EDD9-5F70-E441-E5C2-DCEC6C3541E6}"/>
          </ac:spMkLst>
        </pc:spChg>
        <pc:spChg chg="add del mod modVis">
          <ac:chgData name="Rochelle Boland" userId="86fda904-73bb-4d24-9ca9-bad9a30c9062" providerId="ADAL" clId="{63399361-9180-40E4-91F8-E0ACC087B61D}" dt="2022-11-23T20:21:29.083" v="927"/>
          <ac:spMkLst>
            <pc:docMk/>
            <pc:sldMk cId="783072481" sldId="2147471490"/>
            <ac:spMk id="10" creationId="{407B4161-0A68-9C81-FEBF-6F6545BE7093}"/>
          </ac:spMkLst>
        </pc:spChg>
        <pc:spChg chg="add del mod modVis">
          <ac:chgData name="Rochelle Boland" userId="86fda904-73bb-4d24-9ca9-bad9a30c9062" providerId="ADAL" clId="{63399361-9180-40E4-91F8-E0ACC087B61D}" dt="2022-11-23T20:24:20.796" v="1036"/>
          <ac:spMkLst>
            <pc:docMk/>
            <pc:sldMk cId="783072481" sldId="2147471490"/>
            <ac:spMk id="11" creationId="{B84C3224-596F-BE57-E685-5024841D7013}"/>
          </ac:spMkLst>
        </pc:spChg>
        <pc:spChg chg="add del mod modVis">
          <ac:chgData name="Rochelle Boland" userId="86fda904-73bb-4d24-9ca9-bad9a30c9062" providerId="ADAL" clId="{63399361-9180-40E4-91F8-E0ACC087B61D}" dt="2022-11-23T20:24:24.021" v="1093"/>
          <ac:spMkLst>
            <pc:docMk/>
            <pc:sldMk cId="783072481" sldId="2147471490"/>
            <ac:spMk id="12" creationId="{89B2060E-2A4B-3060-A02B-F88B275404A4}"/>
          </ac:spMkLst>
        </pc:spChg>
        <pc:spChg chg="add del mod modVis">
          <ac:chgData name="Rochelle Boland" userId="86fda904-73bb-4d24-9ca9-bad9a30c9062" providerId="ADAL" clId="{63399361-9180-40E4-91F8-E0ACC087B61D}" dt="2022-11-23T20:24:27.460" v="1156"/>
          <ac:spMkLst>
            <pc:docMk/>
            <pc:sldMk cId="783072481" sldId="2147471490"/>
            <ac:spMk id="13" creationId="{6F4C7ADA-A609-42DB-F05E-D5B37113DC86}"/>
          </ac:spMkLst>
        </pc:spChg>
        <pc:graphicFrameChg chg="mod">
          <ac:chgData name="Rochelle Boland" userId="86fda904-73bb-4d24-9ca9-bad9a30c9062" providerId="ADAL" clId="{63399361-9180-40E4-91F8-E0ACC087B61D}" dt="2022-11-23T20:24:27.472" v="1158"/>
          <ac:graphicFrameMkLst>
            <pc:docMk/>
            <pc:sldMk cId="783072481" sldId="2147471490"/>
            <ac:graphicFrameMk id="5" creationId="{66083A34-77F2-41C4-B639-2F29D2183012}"/>
          </ac:graphicFrameMkLst>
        </pc:graphicFrameChg>
        <pc:graphicFrameChg chg="mod modGraphic">
          <ac:chgData name="Rochelle Boland" userId="86fda904-73bb-4d24-9ca9-bad9a30c9062" providerId="ADAL" clId="{63399361-9180-40E4-91F8-E0ACC087B61D}" dt="2022-11-23T20:23:34.008" v="990" actId="404"/>
          <ac:graphicFrameMkLst>
            <pc:docMk/>
            <pc:sldMk cId="783072481" sldId="2147471490"/>
            <ac:graphicFrameMk id="6" creationId="{51AFC3C4-6212-4895-90D7-9EEBAA573B16}"/>
          </ac:graphicFrameMkLst>
        </pc:graphicFrameChg>
      </pc:sldChg>
      <pc:sldChg chg="modSp new add del mod">
        <pc:chgData name="Rochelle Boland" userId="86fda904-73bb-4d24-9ca9-bad9a30c9062" providerId="ADAL" clId="{63399361-9180-40E4-91F8-E0ACC087B61D}" dt="2022-11-23T20:30:27.403" v="2812" actId="47"/>
        <pc:sldMkLst>
          <pc:docMk/>
          <pc:sldMk cId="3712224462" sldId="2147471496"/>
        </pc:sldMkLst>
        <pc:spChg chg="mod">
          <ac:chgData name="Rochelle Boland" userId="86fda904-73bb-4d24-9ca9-bad9a30c9062" providerId="ADAL" clId="{63399361-9180-40E4-91F8-E0ACC087B61D}" dt="2022-11-23T20:12:49.123" v="31" actId="207"/>
          <ac:spMkLst>
            <pc:docMk/>
            <pc:sldMk cId="3712224462" sldId="2147471496"/>
            <ac:spMk id="3" creationId="{DDC33CA2-2548-DBF2-AB43-A93A2665ACCE}"/>
          </ac:spMkLst>
        </pc:spChg>
      </pc:sldChg>
      <pc:sldChg chg="modSp add mod">
        <pc:chgData name="Rochelle Boland" userId="86fda904-73bb-4d24-9ca9-bad9a30c9062" providerId="ADAL" clId="{63399361-9180-40E4-91F8-E0ACC087B61D}" dt="2022-11-23T20:34:06.747" v="2902" actId="20577"/>
        <pc:sldMkLst>
          <pc:docMk/>
          <pc:sldMk cId="1733507984" sldId="2147471497"/>
        </pc:sldMkLst>
        <pc:spChg chg="mod">
          <ac:chgData name="Rochelle Boland" userId="86fda904-73bb-4d24-9ca9-bad9a30c9062" providerId="ADAL" clId="{63399361-9180-40E4-91F8-E0ACC087B61D}" dt="2022-11-23T20:34:06.747" v="2902" actId="20577"/>
          <ac:spMkLst>
            <pc:docMk/>
            <pc:sldMk cId="1733507984" sldId="2147471497"/>
            <ac:spMk id="36" creationId="{1DB000CE-A22D-49E4-8266-2372FF7A8D7F}"/>
          </ac:spMkLst>
        </pc:spChg>
      </pc:sldChg>
    </pc:docChg>
  </pc:docChgLst>
  <pc:docChgLst>
    <pc:chgData name="Jason Madden" userId="bc5fc663-4acf-4c70-beae-e4d4354e4ea1" providerId="ADAL" clId="{35476718-0A71-4691-806C-7DB90E58EA2A}"/>
    <pc:docChg chg="custSel modSld">
      <pc:chgData name="Jason Madden" userId="bc5fc663-4acf-4c70-beae-e4d4354e4ea1" providerId="ADAL" clId="{35476718-0A71-4691-806C-7DB90E58EA2A}" dt="2022-11-29T04:56:02.145" v="135" actId="20577"/>
      <pc:docMkLst>
        <pc:docMk/>
      </pc:docMkLst>
      <pc:sldChg chg="delSp modSp mod">
        <pc:chgData name="Jason Madden" userId="bc5fc663-4acf-4c70-beae-e4d4354e4ea1" providerId="ADAL" clId="{35476718-0A71-4691-806C-7DB90E58EA2A}" dt="2022-11-29T04:50:00.957" v="59" actId="20577"/>
        <pc:sldMkLst>
          <pc:docMk/>
          <pc:sldMk cId="1170383945" sldId="2147471308"/>
        </pc:sldMkLst>
        <pc:spChg chg="mod">
          <ac:chgData name="Jason Madden" userId="bc5fc663-4acf-4c70-beae-e4d4354e4ea1" providerId="ADAL" clId="{35476718-0A71-4691-806C-7DB90E58EA2A}" dt="2022-11-29T04:50:00.957" v="59" actId="20577"/>
          <ac:spMkLst>
            <pc:docMk/>
            <pc:sldMk cId="1170383945" sldId="2147471308"/>
            <ac:spMk id="7" creationId="{BBE6D003-7519-4F7D-9250-BA0F856BAB3D}"/>
          </ac:spMkLst>
        </pc:spChg>
        <pc:spChg chg="del">
          <ac:chgData name="Jason Madden" userId="bc5fc663-4acf-4c70-beae-e4d4354e4ea1" providerId="ADAL" clId="{35476718-0A71-4691-806C-7DB90E58EA2A}" dt="2022-11-29T04:48:26.022" v="0" actId="478"/>
          <ac:spMkLst>
            <pc:docMk/>
            <pc:sldMk cId="1170383945" sldId="2147471308"/>
            <ac:spMk id="10" creationId="{42160A0A-4442-4532-8BF8-DDD513DFCABB}"/>
          </ac:spMkLst>
        </pc:spChg>
      </pc:sldChg>
      <pc:sldChg chg="modSp">
        <pc:chgData name="Jason Madden" userId="bc5fc663-4acf-4c70-beae-e4d4354e4ea1" providerId="ADAL" clId="{35476718-0A71-4691-806C-7DB90E58EA2A}" dt="2022-11-29T04:56:02.145" v="135" actId="20577"/>
        <pc:sldMkLst>
          <pc:docMk/>
          <pc:sldMk cId="885873698" sldId="2147471498"/>
        </pc:sldMkLst>
        <pc:graphicFrameChg chg="mod">
          <ac:chgData name="Jason Madden" userId="bc5fc663-4acf-4c70-beae-e4d4354e4ea1" providerId="ADAL" clId="{35476718-0A71-4691-806C-7DB90E58EA2A}" dt="2022-11-29T04:56:02.145" v="135" actId="20577"/>
          <ac:graphicFrameMkLst>
            <pc:docMk/>
            <pc:sldMk cId="885873698" sldId="2147471498"/>
            <ac:graphicFrameMk id="6" creationId="{51AFC3C4-6212-4895-90D7-9EEBAA573B16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33871809238929E-2"/>
          <c:y val="6.7457559020636118E-2"/>
          <c:w val="0.95376612819076112"/>
          <c:h val="0.823777371143075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pattFill prst="dkDnDiag">
              <a:fgClr>
                <a:schemeClr val="tx2"/>
              </a:fgClr>
              <a:bgClr>
                <a:schemeClr val="bg1"/>
              </a:bgClr>
            </a:pattFill>
            <a:ln w="44180">
              <a:noFill/>
            </a:ln>
          </c:spPr>
          <c:invertIfNegative val="0"/>
          <c:cat>
            <c:numRef>
              <c:f>Sheet1!$A$2:$A$43</c:f>
              <c:numCache>
                <c:formatCode>General</c:formatCode>
                <c:ptCount val="42"/>
              </c:numCache>
            </c:numRef>
          </c:cat>
          <c:val>
            <c:numRef>
              <c:f>Sheet1!$B$2:$B$43</c:f>
              <c:numCache>
                <c:formatCode>General</c:formatCode>
                <c:ptCount val="42"/>
              </c:numCache>
            </c:numRef>
          </c:val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2C5A-47F8-B2E5-373C619EB9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tx2"/>
            </a:solidFill>
            <a:ln w="19050">
              <a:noFill/>
              <a:prstDash val="dash"/>
            </a:ln>
          </c:spPr>
          <c:invertIfNegative val="0"/>
          <c:cat>
            <c:numRef>
              <c:f>Sheet1!$A$2:$A$43</c:f>
              <c:numCache>
                <c:formatCode>General</c:formatCode>
                <c:ptCount val="42"/>
              </c:numCache>
            </c:numRef>
          </c:cat>
          <c:val>
            <c:numRef>
              <c:f>Sheet1!$C$2:$C$43</c:f>
              <c:numCache>
                <c:formatCode>General</c:formatCode>
                <c:ptCount val="42"/>
              </c:numCache>
            </c:numRef>
          </c:val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1-2C5A-47F8-B2E5-373C619EB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89969488"/>
        <c:axId val="4899738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ln w="19050">
              <a:solidFill>
                <a:schemeClr val="accent1"/>
              </a:solidFill>
              <a:prstDash val="dash"/>
            </a:ln>
          </c:spPr>
          <c:marker>
            <c:symbol val="none"/>
          </c:marker>
          <c:cat>
            <c:numRef>
              <c:f>Sheet1!$A$2:$A$43</c:f>
              <c:numCache>
                <c:formatCode>General</c:formatCode>
                <c:ptCount val="42"/>
              </c:numCache>
            </c:numRef>
          </c:cat>
          <c:val>
            <c:numRef>
              <c:f>Sheet1!$D$2:$D$43</c:f>
              <c:numCache>
                <c:formatCode>General</c:formatCode>
                <c:ptCount val="42"/>
              </c:numCache>
            </c:numRef>
          </c:val>
          <c:smooth val="0"/>
          <c:extLst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2-2C5A-47F8-B2E5-373C619EB9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9969488"/>
        <c:axId val="489973800"/>
      </c:lineChart>
      <c:catAx>
        <c:axId val="489969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accent5">
                <a:lumMod val="60000"/>
                <a:lumOff val="40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89973800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489973800"/>
        <c:scaling>
          <c:orientation val="minMax"/>
          <c:max val="20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spPr>
          <a:ln>
            <a:solidFill>
              <a:schemeClr val="accent5">
                <a:lumMod val="60000"/>
                <a:lumOff val="40000"/>
              </a:schemeClr>
            </a:solidFill>
          </a:ln>
        </c:spPr>
        <c:txPr>
          <a:bodyPr rot="0" vert="horz"/>
          <a:lstStyle/>
          <a:p>
            <a:pPr>
              <a:defRPr>
                <a:noFill/>
              </a:defRPr>
            </a:pPr>
            <a:endParaRPr lang="en-US"/>
          </a:p>
        </c:txPr>
        <c:crossAx val="489969488"/>
        <c:crosses val="autoZero"/>
        <c:crossBetween val="between"/>
        <c:majorUnit val="10"/>
      </c:valAx>
      <c:spPr>
        <a:noFill/>
        <a:ln w="4418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716</cdr:x>
      <cdr:y>0.27166</cdr:y>
    </cdr:from>
    <cdr:to>
      <cdr:x>1</cdr:x>
      <cdr:y>0.62229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67C23524-19A1-6AF9-0218-67A32A173232}"/>
            </a:ext>
          </a:extLst>
        </cdr:cNvPr>
        <cdr:cNvCxnSpPr/>
      </cdr:nvCxnSpPr>
      <cdr:spPr>
        <a:xfrm xmlns:a="http://schemas.openxmlformats.org/drawingml/2006/main">
          <a:off x="384590" y="903877"/>
          <a:ext cx="7770147" cy="1166649"/>
        </a:xfrm>
        <a:prstGeom xmlns:a="http://schemas.openxmlformats.org/drawingml/2006/main" prst="straightConnector1">
          <a:avLst/>
        </a:prstGeom>
        <a:ln xmlns:a="http://schemas.openxmlformats.org/drawingml/2006/main" w="19050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7363</cdr:x>
      <cdr:y>0.10332</cdr:y>
    </cdr:from>
    <cdr:to>
      <cdr:x>1</cdr:x>
      <cdr:y>0.35242</cdr:y>
    </cdr:to>
    <cdr:cxnSp macro="">
      <cdr:nvCxnSpPr>
        <cdr:cNvPr id="7" name="Straight Arrow Connector 6">
          <a:extLst xmlns:a="http://schemas.openxmlformats.org/drawingml/2006/main">
            <a:ext uri="{FF2B5EF4-FFF2-40B4-BE49-F238E27FC236}">
              <a16:creationId xmlns:a16="http://schemas.microsoft.com/office/drawing/2014/main" id="{14914542-5238-3C05-C24E-A815ECB85868}"/>
            </a:ext>
          </a:extLst>
        </cdr:cNvPr>
        <cdr:cNvCxnSpPr/>
      </cdr:nvCxnSpPr>
      <cdr:spPr>
        <a:xfrm xmlns:a="http://schemas.openxmlformats.org/drawingml/2006/main" flipV="1">
          <a:off x="2231407" y="343779"/>
          <a:ext cx="5923330" cy="828816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chemeClr val="accent4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ctr"/>
            <a:endParaRPr lang="en-AU" b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7136F1-D0FD-450D-9E5B-2FF84341FFC9}" type="datetimeFigureOut">
              <a:rPr lang="en-AU" smtClean="0"/>
              <a:t>10/02/2023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algn="ctr"/>
            <a:endParaRPr lang="en-AU" b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4FC9D5-8818-4944-9E98-175DA7CB3ACF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054346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9F7AF4-03C1-457E-937F-4B7F3D11C644}" type="datetimeFigureOut">
              <a:rPr lang="pt-BR"/>
              <a:t>10/02/2023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FE47E1-317D-4E13-81ED-081C4118630F}" type="slidenum">
              <a:rPr lang="pt-BR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5680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50445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6C03F-22F6-4E7A-BD9C-D0DC9F5ECC7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24179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6C03F-22F6-4E7A-BD9C-D0DC9F5ECC7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811303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12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006449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6C03F-22F6-4E7A-BD9C-D0DC9F5ECC7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6660172"/>
            <a:ext cx="4029128" cy="351816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9128" cy="351817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146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1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583700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1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43452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83148-EF0B-4305-92E8-C22F623665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158293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83148-EF0B-4305-92E8-C22F623665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536321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83148-EF0B-4305-92E8-C22F623665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2057241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83148-EF0B-4305-92E8-C22F623665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54629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2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7542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83148-EF0B-4305-92E8-C22F623665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887076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83148-EF0B-4305-92E8-C22F6236658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90150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6C03F-22F6-4E7A-BD9C-D0DC9F5ECC7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994947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691927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5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16879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6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617391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6C03F-22F6-4E7A-BD9C-D0DC9F5ECC7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731214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FE47E1-317D-4E13-81ED-081C4118630F}" type="slidenum">
              <a:rPr lang="pt-BR" smtClean="0"/>
              <a:t>8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75715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6C03F-22F6-4E7A-BD9C-D0DC9F5ECC7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</p:spPr>
        <p:txBody>
          <a:bodyPr/>
          <a:lstStyle/>
          <a:p>
            <a:endParaRPr lang="en-AU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</p:spPr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19028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2000" y="2052000"/>
            <a:ext cx="4608000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5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4000" y="4788000"/>
            <a:ext cx="4356000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3775" y="5508000"/>
            <a:ext cx="4356100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684000"/>
            <a:ext cx="6588000" cy="5490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99A772B-2CDC-4682-B1BD-180B32FCD9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2000" y="252000"/>
            <a:ext cx="5832000" cy="6354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7092000" y="4788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3775" y="590976"/>
            <a:ext cx="3575311" cy="1109474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16722966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B1AB9C-6F5B-4A2B-B5CE-80FBF85A73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CE80A-7736-41CD-848E-64A446F7BB77}" type="datetime1">
              <a:rPr lang="en-GB"/>
              <a:t>10/02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A96F7-A8D6-4EB6-96AC-E2DEB0601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801060-E62E-45A4-8A65-DC249C9F9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C09A-34DB-40FC-986F-778116BE1D2A}" type="slidenum">
              <a:rPr lang="en-US"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2882CB-1B5B-4B24-B3EC-8134B1D32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804DE6-BB94-49D9-8BD1-5167D3B7498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5481" y="1192426"/>
            <a:ext cx="10978978" cy="514658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618F364-CA61-47A4-A34A-86043EA9FD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6686" y="99904"/>
            <a:ext cx="492551" cy="5480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51026229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2000" y="2052000"/>
            <a:ext cx="4608000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5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4000" y="4788000"/>
            <a:ext cx="4356000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3775" y="5508000"/>
            <a:ext cx="4356100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684000"/>
            <a:ext cx="6588000" cy="5490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99A772B-2CDC-4682-B1BD-180B32FCD9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2000" y="252000"/>
            <a:ext cx="5832000" cy="6354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7092000" y="4788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3775" y="590976"/>
            <a:ext cx="3575311" cy="1109474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29938934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68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63" y="582526"/>
            <a:ext cx="3575311" cy="110947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780154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3A4C72-35F1-4FD8-97EE-9C874F6EC6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8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639" y="569040"/>
            <a:ext cx="3389244" cy="1052632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2155616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1CB3FE1E-1D8F-53B8-AC2A-F7ED1CF0182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836613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AADB6CD-DBBB-47B0-9CB8-3BC0C4AA57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0873544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 not remove" hidden="1">
            <a:extLst>
              <a:ext uri="{FF2B5EF4-FFF2-40B4-BE49-F238E27FC236}">
                <a16:creationId xmlns:a16="http://schemas.microsoft.com/office/drawing/2014/main" id="{E624E84B-FDED-3D1D-CE13-335E36974BC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39238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2737C6C-202D-48BF-8D3A-9F64A30DEF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9300" y="1617663"/>
            <a:ext cx="6650038" cy="4583112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2024063"/>
            <a:ext cx="3189288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033436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33F25-E9D1-4F4F-842B-54DD930B4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3AC13-490E-44F6-9984-D69CEEB120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8869B-350A-4D7F-9D07-F31F2CB498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6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6827E-3083-4AEE-9C74-ECDAA22B5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B74492-BAB7-434C-A8A5-E9569B6AA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1A6465-EDA9-4A1A-967C-1C1952C5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0E17AC-38F5-4689-828F-0708E23FD4D8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7B05D64-5158-4044-B5C5-0E2E28A58618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CFF0D16-A7EF-4747-B3D9-A088C5D31F2D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8686907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4386-B398-4D38-AEB3-A910B684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10515600" cy="136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FF98A-6AAB-4DD0-81F0-DF4640742D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24063"/>
            <a:ext cx="4869579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F4E04C-55A6-42E9-9AE5-74C4ACBE49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3" y="2657563"/>
            <a:ext cx="4869579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0A860-99C5-425A-AAA8-A75ADCED1E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5779" y="2024063"/>
            <a:ext cx="4893560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34356E-2176-4D41-B9A3-BC27E80B7A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5779" y="2657563"/>
            <a:ext cx="4893560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2633CE-EF24-42E2-AA82-CA6B813E2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F422C3-72C7-4990-B393-65D87952C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F49045-C2D3-4A8B-8D2F-DC331E5F4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BCAFBF-B6AB-4094-BB38-C773152FD62F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675DA8B-7D9D-4283-9D72-F0A495F37145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7DBD96FD-D1E9-43D5-B8B8-9DC35CDE04D2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56631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0551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68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63" y="582526"/>
            <a:ext cx="3575311" cy="110947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5284430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- do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37A2FE6D-9229-9B1D-C699-026976F728A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9E0E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</a:pPr>
            <a:endParaRPr lang="en-GB" sz="1200" b="0" i="0" u="none" baseline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91ABB-2E5F-444C-BC15-A43E46C9E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3171DD-B073-49AA-8F97-0806C5670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7537" y="1201317"/>
            <a:ext cx="10948987" cy="51165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687EF8-9124-49E6-A153-D44EAA6021E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92021-97F1-426A-8243-9FDE79446F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88ADD6-A708-44B4-A68F-E5B76A260A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3B3C09A-34DB-40FC-986F-778116BE1D2A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E057715-CA32-44AA-82FF-524AFD6EBC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05481" y="1192426"/>
            <a:ext cx="10978978" cy="514658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3CB609-EC0A-443C-B340-22B283CB47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6686" y="99904"/>
            <a:ext cx="492551" cy="5480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254207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2000" y="2052000"/>
            <a:ext cx="4608000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5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4000" y="4788000"/>
            <a:ext cx="4356000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3775" y="5508000"/>
            <a:ext cx="4356100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684000"/>
            <a:ext cx="6588000" cy="5490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99A772B-2CDC-4682-B1BD-180B32FCD9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2000" y="252000"/>
            <a:ext cx="5832000" cy="6354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7092000" y="4788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3775" y="590976"/>
            <a:ext cx="3575311" cy="1109474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0531778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68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63" y="582526"/>
            <a:ext cx="3575311" cy="110947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7762344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3A4C72-35F1-4FD8-97EE-9C874F6EC6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8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639" y="569040"/>
            <a:ext cx="3389244" cy="1052632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90748090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85232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AADB6CD-DBBB-47B0-9CB8-3BC0C4AA57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749700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7DA6B3-21D5-486B-8D91-F2B37073E884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30442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2737C6C-202D-48BF-8D3A-9F64A30DEF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9300" y="1617663"/>
            <a:ext cx="6650038" cy="4583112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2024063"/>
            <a:ext cx="3189288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7DA6B3-21D5-486B-8D91-F2B37073E884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78889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33F25-E9D1-4F4F-842B-54DD930B4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3AC13-490E-44F6-9984-D69CEEB120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8869B-350A-4D7F-9D07-F31F2CB498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6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6827E-3083-4AEE-9C74-ECDAA22B5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B74492-BAB7-434C-A8A5-E9569B6AA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1A6465-EDA9-4A1A-967C-1C1952C5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0E17AC-38F5-4689-828F-0708E23FD4D8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80998E5-8446-448A-A2C1-CD943A0A7DA4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7B05D64-5158-4044-B5C5-0E2E28A58618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CFF0D16-A7EF-4747-B3D9-A088C5D31F2D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744224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4386-B398-4D38-AEB3-A910B684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10515600" cy="136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FF98A-6AAB-4DD0-81F0-DF4640742D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24063"/>
            <a:ext cx="4869579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F4E04C-55A6-42E9-9AE5-74C4ACBE49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3" y="2657563"/>
            <a:ext cx="4869579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0A860-99C5-425A-AAA8-A75ADCED1E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5779" y="2024063"/>
            <a:ext cx="4893560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34356E-2176-4D41-B9A3-BC27E80B7A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5779" y="2657563"/>
            <a:ext cx="4893560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2633CE-EF24-42E2-AA82-CA6B813E2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F422C3-72C7-4990-B393-65D87952C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F49045-C2D3-4A8B-8D2F-DC331E5F4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BCAFBF-B6AB-4094-BB38-C773152FD62F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4D93DE8-D2DE-4118-8002-7455A6718840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675DA8B-7D9D-4283-9D72-F0A495F37145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7DBD96FD-D1E9-43D5-B8B8-9DC35CDE04D2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56631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33103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3A4C72-35F1-4FD8-97EE-9C874F6EC6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8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639" y="569040"/>
            <a:ext cx="3389244" cy="1052632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24108745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- do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391ABB-2E5F-444C-BC15-A43E46C9E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3171DD-B073-49AA-8F97-0806C5670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7537" y="1201317"/>
            <a:ext cx="10948987" cy="51165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687EF8-9124-49E6-A153-D44EAA6021E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92021-97F1-426A-8243-9FDE79446F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88ADD6-A708-44B4-A68F-E5B76A260A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3B3C09A-34DB-40FC-986F-778116BE1D2A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E057715-CA32-44AA-82FF-524AFD6EBC8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05481" y="1192426"/>
            <a:ext cx="10978978" cy="514658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3CB609-EC0A-443C-B340-22B283CB47D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96686" y="99904"/>
            <a:ext cx="492551" cy="5480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61175914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2000" y="2052000"/>
            <a:ext cx="4608000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5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4000" y="4788000"/>
            <a:ext cx="4356000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43775" y="5508000"/>
            <a:ext cx="4356100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684000"/>
            <a:ext cx="6588000" cy="5490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99A772B-2CDC-4682-B1BD-180B32FCD9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52000" y="252000"/>
            <a:ext cx="5832000" cy="6354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7092000" y="4788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3775" y="590976"/>
            <a:ext cx="3575311" cy="1109474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15701280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68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63" y="582526"/>
            <a:ext cx="3575311" cy="1109474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42343300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3A4C72-35F1-4FD8-97EE-9C874F6EC6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320799-1F48-4194-9F0A-24AFB679DE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2052000"/>
            <a:ext cx="8475662" cy="2736000"/>
          </a:xfrm>
        </p:spPr>
        <p:txBody>
          <a:bodyPr anchor="ctr" anchorCtr="0">
            <a:normAutofit/>
          </a:bodyPr>
          <a:lstStyle>
            <a:lvl1pPr algn="l">
              <a:lnSpc>
                <a:spcPts val="8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1B2CC6-75C8-4A2F-B59C-594A6BE51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4663" y="4788000"/>
            <a:ext cx="8223698" cy="64800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AEB9E01-6B3A-4DA9-8468-2F447A6971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34437" y="5508000"/>
            <a:ext cx="8223887" cy="648000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CCEB35-CBD9-4ED7-8F3A-2113973BF5EB}"/>
              </a:ext>
            </a:extLst>
          </p:cNvPr>
          <p:cNvSpPr/>
          <p:nvPr userDrawn="1"/>
        </p:nvSpPr>
        <p:spPr>
          <a:xfrm>
            <a:off x="0" y="1368000"/>
            <a:ext cx="504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20589B-C419-4CCD-B9FC-3310629CF692}"/>
              </a:ext>
            </a:extLst>
          </p:cNvPr>
          <p:cNvSpPr/>
          <p:nvPr userDrawn="1"/>
        </p:nvSpPr>
        <p:spPr>
          <a:xfrm>
            <a:off x="982663" y="4824000"/>
            <a:ext cx="72000" cy="133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526050-A2DF-4DB7-B9CF-16B43098F230}"/>
              </a:ext>
            </a:extLst>
          </p:cNvPr>
          <p:cNvSpPr/>
          <p:nvPr userDrawn="1"/>
        </p:nvSpPr>
        <p:spPr>
          <a:xfrm>
            <a:off x="10140000" y="1368000"/>
            <a:ext cx="2052000" cy="47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639" y="569040"/>
            <a:ext cx="3389244" cy="1052632"/>
          </a:xfrm>
          <a:prstGeom prst="rect">
            <a:avLst/>
          </a:prstGeom>
        </p:spPr>
      </p:pic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1172187" y="6356350"/>
            <a:ext cx="6783813" cy="180000"/>
          </a:xfrm>
        </p:spPr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83176705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1CB3FE1E-1D8F-53B8-AC2A-F7ED1CF0182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519216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AADB6CD-DBBB-47B0-9CB8-3BC0C4AA57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3243106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o not remove" hidden="1">
            <a:extLst>
              <a:ext uri="{FF2B5EF4-FFF2-40B4-BE49-F238E27FC236}">
                <a16:creationId xmlns:a16="http://schemas.microsoft.com/office/drawing/2014/main" id="{E624E84B-FDED-3D1D-CE13-335E36974BC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691698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2737C6C-202D-48BF-8D3A-9F64A30DEF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9300" y="1617663"/>
            <a:ext cx="6650038" cy="4583112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2024063"/>
            <a:ext cx="3189288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98907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33F25-E9D1-4F4F-842B-54DD930B4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3AC13-490E-44F6-9984-D69CEEB120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8869B-350A-4D7F-9D07-F31F2CB498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6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6827E-3083-4AEE-9C74-ECDAA22B5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B74492-BAB7-434C-A8A5-E9569B6AA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1A6465-EDA9-4A1A-967C-1C1952C5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0E17AC-38F5-4689-828F-0708E23FD4D8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7B05D64-5158-4044-B5C5-0E2E28A58618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CFF0D16-A7EF-4747-B3D9-A088C5D31F2D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73996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4386-B398-4D38-AEB3-A910B684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10515600" cy="136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FF98A-6AAB-4DD0-81F0-DF4640742D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24063"/>
            <a:ext cx="4869579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F4E04C-55A6-42E9-9AE5-74C4ACBE49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3" y="2657563"/>
            <a:ext cx="4869579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0A860-99C5-425A-AAA8-A75ADCED1E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5779" y="2024063"/>
            <a:ext cx="4893560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34356E-2176-4D41-B9A3-BC27E80B7A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5779" y="2657563"/>
            <a:ext cx="4893560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2633CE-EF24-42E2-AA82-CA6B813E2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F422C3-72C7-4990-B393-65D87952C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F49045-C2D3-4A8B-8D2F-DC331E5F4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BCAFBF-B6AB-4094-BB38-C773152FD62F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675DA8B-7D9D-4283-9D72-F0A495F37145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7DBD96FD-D1E9-43D5-B8B8-9DC35CDE04D2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56631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67125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6820326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 - do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 not remove" hidden="1">
            <a:extLst>
              <a:ext uri="{FF2B5EF4-FFF2-40B4-BE49-F238E27FC236}">
                <a16:creationId xmlns:a16="http://schemas.microsoft.com/office/drawing/2014/main" id="{37A2FE6D-9229-9B1D-C699-026976F728A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9E0E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rtl="0" eaLnBrk="1" fontAlgn="auto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</a:pPr>
            <a:endParaRPr lang="en-GB" sz="1200" b="0" i="0" u="none" baseline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391ABB-2E5F-444C-BC15-A43E46C9E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3171DD-B073-49AA-8F97-0806C5670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7537" y="1201317"/>
            <a:ext cx="10948987" cy="51165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687EF8-9124-49E6-A153-D44EAA6021E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92021-97F1-426A-8243-9FDE79446F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88ADD6-A708-44B4-A68F-E5B76A260A3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3B3C09A-34DB-40FC-986F-778116BE1D2A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E057715-CA32-44AA-82FF-524AFD6EBC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05481" y="1192426"/>
            <a:ext cx="10978978" cy="514658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3CB609-EC0A-443C-B340-22B283CB47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6686" y="99904"/>
            <a:ext cx="492551" cy="5480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74174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BE84BC27-1ED5-6686-A8EB-5FA447B4386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B1AB9C-6F5B-4A2B-B5CE-80FBF85A73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A96F7-A8D6-4EB6-96AC-E2DEB0601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801060-E62E-45A4-8A65-DC249C9F9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B3C09A-34DB-40FC-986F-778116BE1D2A}" type="slidenum">
              <a:rPr lang="en-US"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E2882CB-1B5B-4B24-B3EC-8134B1D32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804DE6-BB94-49D9-8BD1-5167D3B7498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05481" y="1192426"/>
            <a:ext cx="10978978" cy="514658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618F364-CA61-47A4-A34A-86043EA9FD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96686" y="99904"/>
            <a:ext cx="492551" cy="54809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algn="ctr">
              <a:lnSpc>
                <a:spcPct val="120000"/>
              </a:lnSpc>
              <a:spcBef>
                <a:spcPts val="600"/>
              </a:spcBef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6843420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AADB6CD-DBBB-47B0-9CB8-3BC0C4AA57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14E992-88C8-4528-B927-4B9DA5D16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4450" y="2686050"/>
            <a:ext cx="9894888" cy="3514725"/>
          </a:xfrm>
        </p:spPr>
        <p:txBody>
          <a:bodyPr anchor="t" anchorCtr="0">
            <a:normAutofit/>
          </a:bodyPr>
          <a:lstStyle>
            <a:lvl1pPr>
              <a:lnSpc>
                <a:spcPts val="6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D71BE5-8B62-4C15-A2F2-078D3260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14450" y="2017713"/>
            <a:ext cx="9894888" cy="487362"/>
          </a:xfrm>
        </p:spPr>
        <p:txBody>
          <a:bodyPr anchor="t" anchorCtr="0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0DF288-1074-4DEE-8045-1BBEA4767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EA42029-BFF6-4E27-9918-4210052C76CF}"/>
              </a:ext>
            </a:extLst>
          </p:cNvPr>
          <p:cNvSpPr/>
          <p:nvPr userDrawn="1"/>
        </p:nvSpPr>
        <p:spPr>
          <a:xfrm>
            <a:off x="982662" y="1376363"/>
            <a:ext cx="72000" cy="477963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31D64CD-A755-4E53-9771-4981CAB5D6B2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719982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7DA6B3-21D5-486B-8D91-F2B37073E884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60724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2737C6C-202D-48BF-8D3A-9F64A30DEF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9300" y="1617663"/>
            <a:ext cx="6650038" cy="4583112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18EA08-9E74-4036-BA74-BAE9D61B4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555EAA-672E-4F56-B211-FDD5FB653E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2024063"/>
            <a:ext cx="3189288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467DA-B382-49BC-9B22-6D50676B7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F4DA8-18DE-440D-925B-106D0F9A3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261E15-2C15-429C-A42B-FCF0B0CA2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519175-1D65-4FD5-BF62-0F1ACECDCF1A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77DA6B3-21D5-486B-8D91-F2B37073E884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C1FD9D-843A-4F17-8100-76BE81D7845D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B187D00-1475-495C-8A0F-8DC64A107F66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73472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33F25-E9D1-4F4F-842B-54DD930B4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03AC13-490E-44F6-9984-D69CEEB120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82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7D8869B-350A-4D7F-9D07-F31F2CB498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6663" y="2024063"/>
            <a:ext cx="4892676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56827E-3083-4AEE-9C74-ECDAA22B5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B74492-BAB7-434C-A8A5-E9569B6AA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1A6465-EDA9-4A1A-967C-1C1952C50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0E17AC-38F5-4689-828F-0708E23FD4D8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80998E5-8446-448A-A2C1-CD943A0A7DA4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7B05D64-5158-4044-B5C5-0E2E28A58618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CFF0D16-A7EF-4747-B3D9-A088C5D31F2D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60813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197107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EF4386-B398-4D38-AEB3-A910B6846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10515600" cy="136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FF98A-6AAB-4DD0-81F0-DF4640742D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24063"/>
            <a:ext cx="4869579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F4E04C-55A6-42E9-9AE5-74C4ACBE49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82663" y="2657563"/>
            <a:ext cx="4869579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20A860-99C5-425A-AAA8-A75ADCED1E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5779" y="2024063"/>
            <a:ext cx="4893560" cy="481012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3200"/>
              </a:lnSpc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34356E-2176-4D41-B9A3-BC27E80B7A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5779" y="2657563"/>
            <a:ext cx="4893560" cy="3532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C2633CE-EF24-42E2-AA82-CA6B813E21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6F422C3-72C7-4990-B393-65D87952C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F49045-C2D3-4A8B-8D2F-DC331E5F4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55C17-AF72-40D4-ADBD-B5505DEBF9BA}" type="slidenum">
              <a:rPr lang="en-AU" smtClean="0"/>
              <a:t>‹#›</a:t>
            </a:fld>
            <a:endParaRPr lang="en-A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5BCAFBF-B6AB-4094-BB38-C773152FD62F}"/>
              </a:ext>
            </a:extLst>
          </p:cNvPr>
          <p:cNvCxnSpPr/>
          <p:nvPr userDrawn="1"/>
        </p:nvCxnSpPr>
        <p:spPr>
          <a:xfrm>
            <a:off x="99218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4D93DE8-D2DE-4118-8002-7455A6718840}"/>
              </a:ext>
            </a:extLst>
          </p:cNvPr>
          <p:cNvCxnSpPr/>
          <p:nvPr userDrawn="1"/>
        </p:nvCxnSpPr>
        <p:spPr>
          <a:xfrm>
            <a:off x="8136000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675DA8B-7D9D-4283-9D72-F0A495F37145}"/>
              </a:ext>
            </a:extLst>
          </p:cNvPr>
          <p:cNvCxnSpPr/>
          <p:nvPr userDrawn="1"/>
        </p:nvCxnSpPr>
        <p:spPr>
          <a:xfrm>
            <a:off x="10909938" y="6356350"/>
            <a:ext cx="0" cy="18000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7DBD96FD-D1E9-43D5-B8B8-9DC35CDE04D2}"/>
              </a:ext>
            </a:extLst>
          </p:cNvPr>
          <p:cNvSpPr/>
          <p:nvPr userDrawn="1"/>
        </p:nvSpPr>
        <p:spPr>
          <a:xfrm>
            <a:off x="504000" y="1332000"/>
            <a:ext cx="11196000" cy="108000"/>
          </a:xfrm>
          <a:prstGeom prst="rect">
            <a:avLst/>
          </a:prstGeom>
          <a:gradFill>
            <a:gsLst>
              <a:gs pos="0">
                <a:schemeClr val="accent4"/>
              </a:gs>
              <a:gs pos="5000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6866" y="256631"/>
            <a:ext cx="2754409" cy="85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29391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5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0843DC7-079B-829E-2DAA-EF4721BE2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516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4" imgW="622" imgH="623" progId="TCLayout.ActiveDocument.1">
                  <p:embed/>
                </p:oleObj>
              </mc:Choice>
              <mc:Fallback>
                <p:oleObj name="think-cell Slide" r:id="rId14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0843DC7-079B-829E-2DAA-EF4721BE2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EBE618-4F67-4378-933C-8A3F37F44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153337" cy="13763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97A9BF-EEA3-46D0-858D-66005C4F79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2" y="2024063"/>
            <a:ext cx="10226676" cy="41767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9CFD-E6B0-4003-83E5-5E79061181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16000" y="6356350"/>
            <a:ext cx="90487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91554-9FDD-40FE-A16C-2B91B00B6A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72187" y="6356350"/>
            <a:ext cx="678381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E6DB64-1248-4130-A133-73B517F9F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9001" y="6356350"/>
            <a:ext cx="362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JS SlideHeader"/>
          <p:cNvSpPr txBox="1"/>
          <p:nvPr userDrawn="1"/>
        </p:nvSpPr>
        <p:spPr>
          <a:xfrm>
            <a:off x="1219200" y="63500"/>
            <a:ext cx="9753600" cy="27699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endParaRPr lang="en-AU" sz="1200" b="1" i="0" u="none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6031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87" r:id="rId10"/>
  </p:sldLayoutIdLst>
  <p:hf hdr="0" ft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352425" algn="l" defTabSz="914400" rtl="0" eaLnBrk="1" latinLnBrk="0" hangingPunct="1">
        <a:lnSpc>
          <a:spcPts val="2800"/>
        </a:lnSpc>
        <a:spcBef>
          <a:spcPts val="900"/>
        </a:spcBef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1275">
          <p15:clr>
            <a:srgbClr val="F26B43"/>
          </p15:clr>
        </p15:guide>
        <p15:guide id="5" orient="horz" pos="8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D443B3B-7EB0-2163-D96C-F28F6803A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424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D443B3B-7EB0-2163-D96C-F28F6803A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EBE618-4F67-4378-933C-8A3F37F44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153337" cy="13763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97A9BF-EEA3-46D0-858D-66005C4F79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2" y="2024063"/>
            <a:ext cx="10226676" cy="41767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9CFD-E6B0-4003-83E5-5E79061181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16000" y="6356350"/>
            <a:ext cx="90487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91554-9FDD-40FE-A16C-2B91B00B6A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72187" y="6356350"/>
            <a:ext cx="678381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E6DB64-1248-4130-A133-73B517F9F4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069001" y="6356350"/>
            <a:ext cx="362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JS SlideHeader"/>
          <p:cNvSpPr txBox="1"/>
          <p:nvPr userDrawn="1"/>
        </p:nvSpPr>
        <p:spPr>
          <a:xfrm>
            <a:off x="1219200" y="63500"/>
            <a:ext cx="9753600" cy="27699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endParaRPr lang="en-AU" sz="1200" b="1" i="0" u="none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0432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</p:sldLayoutIdLst>
  <p:hf hdr="0" ft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352425" algn="l" defTabSz="914400" rtl="0" eaLnBrk="1" latinLnBrk="0" hangingPunct="1">
        <a:lnSpc>
          <a:spcPts val="2800"/>
        </a:lnSpc>
        <a:spcBef>
          <a:spcPts val="900"/>
        </a:spcBef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1275">
          <p15:clr>
            <a:srgbClr val="F26B43"/>
          </p15:clr>
        </p15:guide>
        <p15:guide id="5" orient="horz" pos="8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0843DC7-079B-829E-2DAA-EF4721BE2F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2516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14" imgW="622" imgH="623" progId="TCLayout.ActiveDocument.1">
                  <p:embed/>
                </p:oleObj>
              </mc:Choice>
              <mc:Fallback>
                <p:oleObj name="think-cell Slide" r:id="rId14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0843DC7-079B-829E-2DAA-EF4721BE2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EBE618-4F67-4378-933C-8A3F37F44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153337" cy="13763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97A9BF-EEA3-46D0-858D-66005C4F79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2" y="2024063"/>
            <a:ext cx="10226676" cy="41767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9CFD-E6B0-4003-83E5-5E79061181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16000" y="6356350"/>
            <a:ext cx="90487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91554-9FDD-40FE-A16C-2B91B00B6A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72187" y="6356350"/>
            <a:ext cx="678381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E6DB64-1248-4130-A133-73B517F9F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9001" y="6356350"/>
            <a:ext cx="362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JS SlideHeader"/>
          <p:cNvSpPr txBox="1"/>
          <p:nvPr userDrawn="1"/>
        </p:nvSpPr>
        <p:spPr>
          <a:xfrm>
            <a:off x="1219200" y="63500"/>
            <a:ext cx="9753600" cy="27699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endParaRPr lang="en-AU" sz="1200" b="1" i="0" u="none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770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</p:sldLayoutIdLst>
  <p:hf hdr="0" ft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352425" algn="l" defTabSz="914400" rtl="0" eaLnBrk="1" latinLnBrk="0" hangingPunct="1">
        <a:lnSpc>
          <a:spcPts val="2800"/>
        </a:lnSpc>
        <a:spcBef>
          <a:spcPts val="900"/>
        </a:spcBef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1275">
          <p15:clr>
            <a:srgbClr val="F26B43"/>
          </p15:clr>
        </p15:guide>
        <p15:guide id="5" orient="horz" pos="8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D443B3B-7EB0-2163-D96C-F28F6803A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2493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D443B3B-7EB0-2163-D96C-F28F6803A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CEBE618-4F67-4378-933C-8A3F37F44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153337" cy="13763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97A9BF-EEA3-46D0-858D-66005C4F79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2" y="2024063"/>
            <a:ext cx="10226676" cy="41767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959CFD-E6B0-4003-83E5-5E79061181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16000" y="6356350"/>
            <a:ext cx="904875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91554-9FDD-40FE-A16C-2B91B00B6A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72187" y="6356350"/>
            <a:ext cx="678381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 b="1" i="0" u="none">
                <a:solidFill>
                  <a:srgbClr val="FF0000"/>
                </a:solidFill>
                <a:latin typeface="Arial" panose="020B0604020202020204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E6DB64-1248-4130-A133-73B517F9F48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069001" y="6356350"/>
            <a:ext cx="362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0F55C17-AF72-40D4-ADBD-B5505DEBF9BA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JS SlideHeader"/>
          <p:cNvSpPr txBox="1"/>
          <p:nvPr userDrawn="1"/>
        </p:nvSpPr>
        <p:spPr>
          <a:xfrm>
            <a:off x="1219200" y="63500"/>
            <a:ext cx="9753600" cy="27699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endParaRPr lang="en-AU" sz="1200" b="1" i="0" u="none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52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p:hf hdr="0" ft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352425" algn="l" defTabSz="914400" rtl="0" eaLnBrk="1" latinLnBrk="0" hangingPunct="1">
        <a:lnSpc>
          <a:spcPts val="2800"/>
        </a:lnSpc>
        <a:spcBef>
          <a:spcPts val="900"/>
        </a:spcBef>
        <a:buFont typeface="Calibri" panose="020F0502020204030204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361950" algn="l" defTabSz="914400" rtl="0" eaLnBrk="1" latinLnBrk="0" hangingPunct="1">
        <a:lnSpc>
          <a:spcPts val="2800"/>
        </a:lnSpc>
        <a:spcBef>
          <a:spcPts val="900"/>
        </a:spcBef>
        <a:buFont typeface="Arial" panose="020B0604020202020204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1275">
          <p15:clr>
            <a:srgbClr val="F26B43"/>
          </p15:clr>
        </p15:guide>
        <p15:guide id="5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12" Type="http://schemas.openxmlformats.org/officeDocument/2006/relationships/image" Target="../media/image13.svg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8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6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png"/><Relationship Id="rId12" Type="http://schemas.openxmlformats.org/officeDocument/2006/relationships/image" Target="../media/image13.svg"/><Relationship Id="rId2" Type="http://schemas.openxmlformats.org/officeDocument/2006/relationships/tags" Target="../tags/tag35.xml"/><Relationship Id="rId16" Type="http://schemas.microsoft.com/office/2007/relationships/hdphoto" Target="../media/hdphoto1.wdp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17.png"/><Relationship Id="rId10" Type="http://schemas.openxmlformats.org/officeDocument/2006/relationships/image" Target="../media/image46.sv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4.png"/><Relationship Id="rId14" Type="http://schemas.openxmlformats.org/officeDocument/2006/relationships/image" Target="../media/image15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13" Type="http://schemas.openxmlformats.org/officeDocument/2006/relationships/image" Target="../media/image66.svg"/><Relationship Id="rId18" Type="http://schemas.openxmlformats.org/officeDocument/2006/relationships/image" Target="../media/image26.png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image" Target="../media/image23.png"/><Relationship Id="rId17" Type="http://schemas.openxmlformats.org/officeDocument/2006/relationships/image" Target="../media/image70.svg"/><Relationship Id="rId2" Type="http://schemas.openxmlformats.org/officeDocument/2006/relationships/tags" Target="../tags/tag39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19.vml"/><Relationship Id="rId6" Type="http://schemas.openxmlformats.org/officeDocument/2006/relationships/tags" Target="../tags/tag43.xml"/><Relationship Id="rId11" Type="http://schemas.openxmlformats.org/officeDocument/2006/relationships/image" Target="../media/image1.emf"/><Relationship Id="rId5" Type="http://schemas.openxmlformats.org/officeDocument/2006/relationships/tags" Target="../tags/tag42.xml"/><Relationship Id="rId15" Type="http://schemas.openxmlformats.org/officeDocument/2006/relationships/image" Target="../media/image68.svg"/><Relationship Id="rId10" Type="http://schemas.openxmlformats.org/officeDocument/2006/relationships/oleObject" Target="../embeddings/oleObject19.bin"/><Relationship Id="rId19" Type="http://schemas.openxmlformats.org/officeDocument/2006/relationships/image" Target="../media/image50.svg"/><Relationship Id="rId4" Type="http://schemas.openxmlformats.org/officeDocument/2006/relationships/tags" Target="../tags/tag41.xml"/><Relationship Id="rId9" Type="http://schemas.openxmlformats.org/officeDocument/2006/relationships/notesSlide" Target="../notesSlides/notesSlide15.xml"/><Relationship Id="rId1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46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72.svg"/><Relationship Id="rId2" Type="http://schemas.openxmlformats.org/officeDocument/2006/relationships/tags" Target="../tags/tag4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49.xml"/><Relationship Id="rId11" Type="http://schemas.openxmlformats.org/officeDocument/2006/relationships/image" Target="../media/image27.png"/><Relationship Id="rId5" Type="http://schemas.openxmlformats.org/officeDocument/2006/relationships/tags" Target="../tags/tag48.xml"/><Relationship Id="rId10" Type="http://schemas.openxmlformats.org/officeDocument/2006/relationships/image" Target="../media/image5.emf"/><Relationship Id="rId4" Type="http://schemas.openxmlformats.org/officeDocument/2006/relationships/tags" Target="../tags/tag47.xml"/><Relationship Id="rId9" Type="http://schemas.openxmlformats.org/officeDocument/2006/relationships/oleObject" Target="../embeddings/oleObject2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51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72.svg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tags" Target="../tags/tag54.xml"/><Relationship Id="rId11" Type="http://schemas.openxmlformats.org/officeDocument/2006/relationships/image" Target="../media/image27.png"/><Relationship Id="rId5" Type="http://schemas.openxmlformats.org/officeDocument/2006/relationships/tags" Target="../tags/tag53.xml"/><Relationship Id="rId10" Type="http://schemas.openxmlformats.org/officeDocument/2006/relationships/image" Target="../media/image5.emf"/><Relationship Id="rId4" Type="http://schemas.openxmlformats.org/officeDocument/2006/relationships/tags" Target="../tags/tag52.xml"/><Relationship Id="rId9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72.svg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tags" Target="../tags/tag59.xml"/><Relationship Id="rId11" Type="http://schemas.openxmlformats.org/officeDocument/2006/relationships/image" Target="../media/image27.png"/><Relationship Id="rId5" Type="http://schemas.openxmlformats.org/officeDocument/2006/relationships/tags" Target="../tags/tag58.xml"/><Relationship Id="rId10" Type="http://schemas.openxmlformats.org/officeDocument/2006/relationships/image" Target="../media/image5.emf"/><Relationship Id="rId4" Type="http://schemas.openxmlformats.org/officeDocument/2006/relationships/tags" Target="../tags/tag57.xml"/><Relationship Id="rId9" Type="http://schemas.openxmlformats.org/officeDocument/2006/relationships/oleObject" Target="../embeddings/oleObject22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61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72.svg"/><Relationship Id="rId2" Type="http://schemas.openxmlformats.org/officeDocument/2006/relationships/tags" Target="../tags/tag6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64.xml"/><Relationship Id="rId11" Type="http://schemas.openxmlformats.org/officeDocument/2006/relationships/image" Target="../media/image27.png"/><Relationship Id="rId5" Type="http://schemas.openxmlformats.org/officeDocument/2006/relationships/tags" Target="../tags/tag63.xml"/><Relationship Id="rId10" Type="http://schemas.openxmlformats.org/officeDocument/2006/relationships/image" Target="../media/image5.emf"/><Relationship Id="rId4" Type="http://schemas.openxmlformats.org/officeDocument/2006/relationships/tags" Target="../tags/tag62.xml"/><Relationship Id="rId9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3" Type="http://schemas.openxmlformats.org/officeDocument/2006/relationships/tags" Target="../tags/tag66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72.svg"/><Relationship Id="rId2" Type="http://schemas.openxmlformats.org/officeDocument/2006/relationships/tags" Target="../tags/tag6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69.xml"/><Relationship Id="rId11" Type="http://schemas.openxmlformats.org/officeDocument/2006/relationships/image" Target="../media/image27.png"/><Relationship Id="rId5" Type="http://schemas.openxmlformats.org/officeDocument/2006/relationships/tags" Target="../tags/tag68.xml"/><Relationship Id="rId10" Type="http://schemas.openxmlformats.org/officeDocument/2006/relationships/image" Target="../media/image5.emf"/><Relationship Id="rId4" Type="http://schemas.openxmlformats.org/officeDocument/2006/relationships/tags" Target="../tags/tag67.xml"/><Relationship Id="rId9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1.xml"/><Relationship Id="rId3" Type="http://schemas.openxmlformats.org/officeDocument/2006/relationships/tags" Target="../tags/tag71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72.svg"/><Relationship Id="rId2" Type="http://schemas.openxmlformats.org/officeDocument/2006/relationships/tags" Target="../tags/tag7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74.xml"/><Relationship Id="rId11" Type="http://schemas.openxmlformats.org/officeDocument/2006/relationships/image" Target="../media/image27.png"/><Relationship Id="rId5" Type="http://schemas.openxmlformats.org/officeDocument/2006/relationships/tags" Target="../tags/tag73.xml"/><Relationship Id="rId10" Type="http://schemas.openxmlformats.org/officeDocument/2006/relationships/image" Target="../media/image5.emf"/><Relationship Id="rId4" Type="http://schemas.openxmlformats.org/officeDocument/2006/relationships/tags" Target="../tags/tag72.xml"/><Relationship Id="rId9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6.xml"/><Relationship Id="rId7" Type="http://schemas.openxmlformats.org/officeDocument/2006/relationships/image" Target="../media/image8.emf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chart" Target="../charts/char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3.png"/><Relationship Id="rId12" Type="http://schemas.openxmlformats.org/officeDocument/2006/relationships/image" Target="../media/image13.svg"/><Relationship Id="rId2" Type="http://schemas.openxmlformats.org/officeDocument/2006/relationships/tags" Target="../tags/tag31.xml"/><Relationship Id="rId16" Type="http://schemas.microsoft.com/office/2007/relationships/hdphoto" Target="../media/hdphoto1.wdp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17.png"/><Relationship Id="rId10" Type="http://schemas.openxmlformats.org/officeDocument/2006/relationships/image" Target="../media/image11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4.png"/><Relationship Id="rId1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BCBBA1D-EFB8-62AA-966A-1C5B6E3DE3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427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BCBBA1D-EFB8-62AA-966A-1C5B6E3DE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A4AA5DE5-C37C-50CA-D356-FF3C3D9D1C1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Data and Digital </a:t>
            </a:r>
            <a:r>
              <a:rPr lang="en-GB" dirty="0" smtClean="0"/>
              <a:t>Roadmap</a:t>
            </a:r>
            <a:endParaRPr lang="en-GB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0276683-CC08-F663-E57E-5B052A08D11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For public rele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14C6062-C605-7B56-8F15-EE496E14BE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February 20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70920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40717B-EC9B-497B-AC34-245050AA0B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40717B-EC9B-497B-AC34-245050AA0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19394AD-70CB-4292-9B75-8A011B33C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359" y="-1"/>
            <a:ext cx="8189854" cy="1376364"/>
          </a:xfrm>
        </p:spPr>
        <p:txBody>
          <a:bodyPr vert="horz"/>
          <a:lstStyle/>
          <a:p>
            <a:r>
              <a:rPr lang="en-AU" dirty="0"/>
              <a:t>The pillars are implemented with specific changes to </a:t>
            </a:r>
            <a:r>
              <a:rPr lang="en-AU" dirty="0" smtClean="0"/>
              <a:t>the Commission’s data </a:t>
            </a:r>
            <a:r>
              <a:rPr lang="en-AU" dirty="0"/>
              <a:t>and digital </a:t>
            </a:r>
            <a:r>
              <a:rPr lang="en-AU" dirty="0" smtClean="0"/>
              <a:t>capability</a:t>
            </a:r>
            <a:endParaRPr lang="en-AU" dirty="0"/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4B0E3899-EF9F-42BF-B95E-A5B260642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704873"/>
              </p:ext>
            </p:extLst>
          </p:nvPr>
        </p:nvGraphicFramePr>
        <p:xfrm>
          <a:off x="4292792" y="2033588"/>
          <a:ext cx="7275830" cy="44523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608061333"/>
                    </a:ext>
                  </a:extLst>
                </a:gridCol>
                <a:gridCol w="2911500">
                  <a:extLst>
                    <a:ext uri="{9D8B030D-6E8A-4147-A177-3AD203B41FA5}">
                      <a16:colId xmlns:a16="http://schemas.microsoft.com/office/drawing/2014/main" val="1008806156"/>
                    </a:ext>
                  </a:extLst>
                </a:gridCol>
                <a:gridCol w="4156050">
                  <a:extLst>
                    <a:ext uri="{9D8B030D-6E8A-4147-A177-3AD203B41FA5}">
                      <a16:colId xmlns:a16="http://schemas.microsoft.com/office/drawing/2014/main" val="1022666101"/>
                    </a:ext>
                  </a:extLst>
                </a:gridCol>
              </a:tblGrid>
              <a:tr h="170836">
                <a:tc row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900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2E96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Accessible and multi-channel entry point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ccessible front door</a:t>
                      </a: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990482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9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Multi-channel interactions with the Commission</a:t>
                      </a:r>
                      <a:endParaRPr lang="en-GB" sz="1000" dirty="0">
                        <a:solidFill>
                          <a:srgbClr val="C00000"/>
                        </a:solidFill>
                      </a:endParaRP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8616821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9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Efficient management of multiple channels</a:t>
                      </a: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2275867"/>
                  </a:ext>
                </a:extLst>
              </a:tr>
              <a:tr h="170836"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900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2E9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Single point for all provider need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Full function provider portal (one source for all information and correspondence)</a:t>
                      </a: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470272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900"/>
                        <a:t>Single point for all provider need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</a:rPr>
                        <a:t>Efficient transfer of information between provider and Commission systems</a:t>
                      </a: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890091"/>
                  </a:ext>
                </a:extLst>
              </a:tr>
              <a:tr h="170836"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900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2E9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Transparent interaction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Consistency of communications across functions</a:t>
                      </a: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2856856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900"/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Visible progress of applications / complaint status</a:t>
                      </a:r>
                    </a:p>
                  </a:txBody>
                  <a:tcPr marL="46800" marR="468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599744"/>
                  </a:ext>
                </a:extLst>
              </a:tr>
              <a:tr h="17083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" dirty="0"/>
                    </a:p>
                  </a:txBody>
                  <a:tcPr marL="46800" marR="468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545659"/>
                  </a:ext>
                </a:extLst>
              </a:tr>
              <a:tr h="170836"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dirty="0" smtClean="0"/>
                        <a:t>Data and digital competency </a:t>
                      </a:r>
                      <a:r>
                        <a:rPr lang="en-GB" sz="1100" dirty="0"/>
                        <a:t>development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Training on effective use of systems</a:t>
                      </a:r>
                    </a:p>
                  </a:txBody>
                  <a:tcPr marL="36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529154"/>
                  </a:ext>
                </a:extLst>
              </a:tr>
              <a:tr h="19001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Close collaboration of function and technology teams</a:t>
                      </a:r>
                    </a:p>
                  </a:txBody>
                  <a:tcPr marL="36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329749"/>
                  </a:ext>
                </a:extLst>
              </a:tr>
              <a:tr h="170836"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2C8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Digital continuous improvement capability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Continuous improvement in </a:t>
                      </a:r>
                      <a:r>
                        <a:rPr lang="en-GB" sz="1000" dirty="0" smtClean="0"/>
                        <a:t>data and digital across </a:t>
                      </a:r>
                      <a:r>
                        <a:rPr lang="en-GB" sz="1000" dirty="0"/>
                        <a:t>functions</a:t>
                      </a:r>
                    </a:p>
                  </a:txBody>
                  <a:tcPr marL="36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7582162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gile development that partners with functions to deliver</a:t>
                      </a:r>
                    </a:p>
                  </a:txBody>
                  <a:tcPr marL="36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319973"/>
                  </a:ext>
                </a:extLst>
              </a:tr>
              <a:tr h="170836">
                <a:tc row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2C8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Agile and configurable systems to adjust with legislative changes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/>
                        <a:t>Processes owned by functions</a:t>
                      </a:r>
                    </a:p>
                  </a:txBody>
                  <a:tcPr marL="36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7425327"/>
                  </a:ext>
                </a:extLst>
              </a:tr>
              <a:tr h="25015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000"/>
                        <a:t>Agile and configurable systems to adjust with legislative changes</a:t>
                      </a: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Simple to change underlying business logic in system</a:t>
                      </a:r>
                    </a:p>
                  </a:txBody>
                  <a:tcPr marL="36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8699102"/>
                  </a:ext>
                </a:extLst>
              </a:tr>
              <a:tr h="170836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400" dirty="0"/>
                    </a:p>
                  </a:txBody>
                  <a:tcPr marL="36000" marR="72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9716025"/>
                  </a:ext>
                </a:extLst>
              </a:tr>
              <a:tr h="170836">
                <a:tc row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2E74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Clear data governance and policy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ear data management roles and responsibiliti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5848349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ta stewards with accountability for data qua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4756439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lift in system-based data validation capabi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9912030"/>
                  </a:ext>
                </a:extLst>
              </a:tr>
              <a:tr h="170836">
                <a:tc rowSpan="3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2E74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</a:rPr>
                        <a:t>Structured and understood dataset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and controlled data sharing with other agenci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2958709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mpd="sng">
                      <a:noFill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arity of data sources, meaning and data engineering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3891849"/>
                  </a:ext>
                </a:extLst>
              </a:tr>
              <a:tr h="17083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>
                        <a:solidFill>
                          <a:schemeClr val="accent4"/>
                        </a:solidFill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greed data dictionar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9338201"/>
                  </a:ext>
                </a:extLst>
              </a:tr>
              <a:tr h="24056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2E7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ntegrated records and data management 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ords management integrated into process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761097"/>
                  </a:ext>
                </a:extLst>
              </a:tr>
              <a:tr h="24056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2E7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10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ffective data management capabi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1261289"/>
                  </a:ext>
                </a:extLst>
              </a:tr>
            </a:tbl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1A434-EAAD-4E16-B787-50C8A436F5D0}"/>
              </a:ext>
            </a:extLst>
          </p:cNvPr>
          <p:cNvGrpSpPr/>
          <p:nvPr/>
        </p:nvGrpSpPr>
        <p:grpSpPr>
          <a:xfrm>
            <a:off x="673125" y="4972403"/>
            <a:ext cx="3384000" cy="792000"/>
            <a:chOff x="663186" y="3544937"/>
            <a:chExt cx="3384000" cy="792000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C55A85B6-DD82-4295-BAF0-9F228A184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6" y="3544937"/>
              <a:ext cx="3384000" cy="792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116000" tIns="182880" rIns="72000" bIns="182880" numCol="1" rtlCol="0" anchor="ctr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.	Robust data governance</a:t>
              </a:r>
            </a:p>
          </p:txBody>
        </p:sp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0B619024-C130-4170-AF68-FFE9DD72C21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69488" y="3605312"/>
              <a:ext cx="576000" cy="576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98D08B-CEE7-4D82-ADFA-CEEE50CF8B58}"/>
              </a:ext>
            </a:extLst>
          </p:cNvPr>
          <p:cNvGrpSpPr/>
          <p:nvPr/>
        </p:nvGrpSpPr>
        <p:grpSpPr>
          <a:xfrm>
            <a:off x="673125" y="2033925"/>
            <a:ext cx="3384000" cy="792000"/>
            <a:chOff x="663186" y="1682431"/>
            <a:chExt cx="3384000" cy="79200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9AAF0F4-44F0-4DA2-825F-0524B22AF3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6" y="1682431"/>
              <a:ext cx="3384000" cy="792000"/>
            </a:xfrm>
            <a:prstGeom prst="rect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116000" tIns="182880" rIns="274320" bIns="182880" numCol="1" rtlCol="0" anchor="ctr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.	Positive participant and provider experiences</a:t>
              </a: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73B4F50B-E386-4327-81CF-C9EA178B5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878683" y="1790431"/>
              <a:ext cx="576001" cy="576000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122100C-EE92-499A-A95B-8FCA20162E69}"/>
              </a:ext>
            </a:extLst>
          </p:cNvPr>
          <p:cNvGrpSpPr/>
          <p:nvPr/>
        </p:nvGrpSpPr>
        <p:grpSpPr>
          <a:xfrm>
            <a:off x="673125" y="3662145"/>
            <a:ext cx="3384000" cy="792000"/>
            <a:chOff x="663186" y="2606789"/>
            <a:chExt cx="3384000" cy="792000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610D973-274F-4A6D-B98B-E800743F83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6" y="2606789"/>
              <a:ext cx="3384000" cy="79200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116000" tIns="182880" rIns="274320" bIns="182880" numCol="1" rtlCol="0" anchor="ctr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10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.	Digital leadership and agility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F2AF2C21-9A5A-4FC2-AFA8-04FB5D7C7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69488" y="2676689"/>
              <a:ext cx="576000" cy="576000"/>
            </a:xfrm>
            <a:prstGeom prst="rect">
              <a:avLst/>
            </a:prstGeom>
          </p:spPr>
        </p:pic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C4A538EF-CBC5-4915-89B4-A775D92B2959}"/>
              </a:ext>
            </a:extLst>
          </p:cNvPr>
          <p:cNvSpPr txBox="1"/>
          <p:nvPr/>
        </p:nvSpPr>
        <p:spPr>
          <a:xfrm>
            <a:off x="2015189" y="1675685"/>
            <a:ext cx="679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l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734F295-82F6-4CF7-A147-4ED998E8C401}"/>
              </a:ext>
            </a:extLst>
          </p:cNvPr>
          <p:cNvSpPr txBox="1"/>
          <p:nvPr/>
        </p:nvSpPr>
        <p:spPr>
          <a:xfrm>
            <a:off x="5395655" y="1675685"/>
            <a:ext cx="10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A40D28C-F15C-49A7-B098-4EE1B7EA8672}"/>
              </a:ext>
            </a:extLst>
          </p:cNvPr>
          <p:cNvSpPr txBox="1"/>
          <p:nvPr/>
        </p:nvSpPr>
        <p:spPr>
          <a:xfrm>
            <a:off x="8707213" y="1675685"/>
            <a:ext cx="1383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on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437B1E-A033-586D-50E8-A0DEB6A9B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2253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40717B-EC9B-497B-AC34-245050AA0B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40717B-EC9B-497B-AC34-245050AA0B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19394AD-70CB-4292-9B75-8A011B33C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The pillars are implemented with specific changes to data and digital </a:t>
            </a:r>
            <a:r>
              <a:rPr lang="en-AU" dirty="0" smtClean="0"/>
              <a:t>capability</a:t>
            </a:r>
            <a:endParaRPr lang="en-A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E2ABE5-097F-9CBE-344E-66AA0B820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4B0E3899-EF9F-42BF-B95E-A5B2606426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20294"/>
              </p:ext>
            </p:extLst>
          </p:nvPr>
        </p:nvGraphicFramePr>
        <p:xfrm>
          <a:off x="4289642" y="2036697"/>
          <a:ext cx="7099620" cy="43019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8800">
                  <a:extLst>
                    <a:ext uri="{9D8B030D-6E8A-4147-A177-3AD203B41FA5}">
                      <a16:colId xmlns:a16="http://schemas.microsoft.com/office/drawing/2014/main" val="608061333"/>
                    </a:ext>
                  </a:extLst>
                </a:gridCol>
                <a:gridCol w="2895600">
                  <a:extLst>
                    <a:ext uri="{9D8B030D-6E8A-4147-A177-3AD203B41FA5}">
                      <a16:colId xmlns:a16="http://schemas.microsoft.com/office/drawing/2014/main" val="1008806156"/>
                    </a:ext>
                  </a:extLst>
                </a:gridCol>
                <a:gridCol w="3995220">
                  <a:extLst>
                    <a:ext uri="{9D8B030D-6E8A-4147-A177-3AD203B41FA5}">
                      <a16:colId xmlns:a16="http://schemas.microsoft.com/office/drawing/2014/main" val="1022666101"/>
                    </a:ext>
                  </a:extLst>
                </a:gridCol>
              </a:tblGrid>
              <a:tr h="192589"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925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Availability of analytical tools and capability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vailability of analytical tool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9249475"/>
                  </a:ext>
                </a:extLst>
              </a:tr>
              <a:tr h="26288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Tools and capability for specialist analysis</a:t>
                      </a:r>
                      <a:endParaRPr lang="en-GB" sz="1000" dirty="0">
                        <a:highlight>
                          <a:srgbClr val="00FF00"/>
                        </a:highlight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6650563"/>
                  </a:ext>
                </a:extLst>
              </a:tr>
              <a:tr h="192589"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925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Consistent regulatory risk framework and core system alerts informed by risk analysis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Clear and consistent regulatory risk framework applied to assess regulatory risk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3282683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000" dirty="0"/>
                        <a:t>Regulatory risk framework automatically drives alerts and activiti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3402174"/>
                  </a:ext>
                </a:extLst>
              </a:tr>
              <a:tr h="192589"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9250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Machine learning / AI driven intelligence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rchitecture in place to support machine learning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552414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ccess to specialist expertise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2439628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Development of internal capabi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980900"/>
                  </a:ext>
                </a:extLst>
              </a:tr>
              <a:tr h="19258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00" dirty="0"/>
                    </a:p>
                  </a:txBody>
                  <a:tcPr marL="36000" marR="36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0515380"/>
                  </a:ext>
                </a:extLst>
              </a:tr>
              <a:tr h="192589">
                <a:tc row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000" dirty="0"/>
                    </a:p>
                  </a:txBody>
                  <a:tcPr marL="45720" marR="4572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C44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/>
                        <a:t>Integrated core system supporting cross functional collaboration</a:t>
                      </a:r>
                    </a:p>
                  </a:txBody>
                  <a:tcPr marL="45720" marR="4572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Transfer of information and activity across function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3199302"/>
                  </a:ext>
                </a:extLst>
              </a:tr>
              <a:tr h="26288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Effective collaboration tool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3901567"/>
                  </a:ext>
                </a:extLst>
              </a:tr>
              <a:tr h="192589"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C44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Fit-for-purpose systems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Workflow management capabi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6343987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Contact management capabi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630135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Case management capability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7180227"/>
                  </a:ext>
                </a:extLst>
              </a:tr>
              <a:tr h="192589"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C44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System supports flexible working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Logical security profiles that support efficient process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6589816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Self-service reporting and analytic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046445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System supports hybrid ways of working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6784673"/>
                  </a:ext>
                </a:extLst>
              </a:tr>
              <a:tr h="192589">
                <a:tc rowSpan="3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C44D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/>
                        <a:t>Increased process automation</a:t>
                      </a: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Standardised and automated correspondence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612531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utomated data entry and validation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7072026"/>
                  </a:ext>
                </a:extLst>
              </a:tr>
              <a:tr h="19258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/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utomation of simple and repetitive process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7353557"/>
                  </a:ext>
                </a:extLst>
              </a:tr>
              <a:tr h="19258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000" dirty="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DC44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GB" sz="1200"/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dirty="0"/>
                        <a:t>Automated connections with external data sources</a:t>
                      </a: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996150"/>
                  </a:ext>
                </a:extLst>
              </a:tr>
            </a:tbl>
          </a:graphicData>
        </a:graphic>
      </p:graphicFrame>
      <p:pic>
        <p:nvPicPr>
          <p:cNvPr id="36" name="Graphic 35">
            <a:extLst>
              <a:ext uri="{FF2B5EF4-FFF2-40B4-BE49-F238E27FC236}">
                <a16:creationId xmlns:a16="http://schemas.microsoft.com/office/drawing/2014/main" id="{0B619024-C130-4170-AF68-FFE9DD72C21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869488" y="3605312"/>
            <a:ext cx="576000" cy="5760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73B4F50B-E386-4327-81CF-C9EA178B50E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878683" y="1790431"/>
            <a:ext cx="576001" cy="5760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F2AF2C21-9A5A-4FC2-AFA8-04FB5D7C790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869488" y="2676689"/>
            <a:ext cx="576000" cy="576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3623CDC-CA82-45EB-8A12-FA6A16121C38}"/>
              </a:ext>
            </a:extLst>
          </p:cNvPr>
          <p:cNvGrpSpPr/>
          <p:nvPr/>
        </p:nvGrpSpPr>
        <p:grpSpPr>
          <a:xfrm>
            <a:off x="663186" y="2036697"/>
            <a:ext cx="3384000" cy="792000"/>
            <a:chOff x="663186" y="4465572"/>
            <a:chExt cx="3384000" cy="792000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906B23C-B43E-4A79-B0D2-FA487AE6C1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6" y="4465572"/>
              <a:ext cx="3384000" cy="792000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116000" tIns="182880" rIns="216000" bIns="182880" numCol="1" rtlCol="0" anchor="ctr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.	Insight and intelligence capability</a:t>
              </a: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5B39941B-E9AC-4523-982B-B376707E9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905642" y="4553472"/>
              <a:ext cx="503693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E082418-36DD-4ADC-B235-FBC80A390F90}"/>
              </a:ext>
            </a:extLst>
          </p:cNvPr>
          <p:cNvGrpSpPr/>
          <p:nvPr/>
        </p:nvGrpSpPr>
        <p:grpSpPr>
          <a:xfrm>
            <a:off x="663186" y="3909675"/>
            <a:ext cx="3384000" cy="792000"/>
            <a:chOff x="663186" y="5630796"/>
            <a:chExt cx="3384000" cy="7920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D8426B1-149C-4C5A-BDF8-2C2CDF06E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6" y="5630796"/>
              <a:ext cx="3384000" cy="792000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116000" tIns="182880" rIns="274320" bIns="182880" numCol="1" rtlCol="0" anchor="ctr" anchorCtr="0" compatLnSpc="1">
              <a:prstTxWarp prst="textNoShape">
                <a:avLst/>
              </a:prstTxWarp>
            </a:bodyPr>
            <a:lstStyle/>
            <a:p>
              <a:pPr marL="177800" marR="0" lvl="0" indent="-1778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.	Empowered Commission staff</a:t>
              </a:r>
            </a:p>
          </p:txBody>
        </p:sp>
        <p:pic>
          <p:nvPicPr>
            <p:cNvPr id="42" name="Picture 41" descr="Shape&#10;&#10;Description automatically generated with low confidence">
              <a:extLst>
                <a:ext uri="{FF2B5EF4-FFF2-40B4-BE49-F238E27FC236}">
                  <a16:creationId xmlns:a16="http://schemas.microsoft.com/office/drawing/2014/main" id="{86220FB7-21E4-43FC-8209-0B1686B64C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hq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1489" y="5750513"/>
              <a:ext cx="612000" cy="494512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FFABCA6C-6578-4CC4-9D12-160D5621A800}"/>
              </a:ext>
            </a:extLst>
          </p:cNvPr>
          <p:cNvSpPr txBox="1"/>
          <p:nvPr/>
        </p:nvSpPr>
        <p:spPr>
          <a:xfrm>
            <a:off x="2015189" y="1675685"/>
            <a:ext cx="679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la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F098E1C-374D-4F9E-84C0-7F666528E68D}"/>
              </a:ext>
            </a:extLst>
          </p:cNvPr>
          <p:cNvSpPr txBox="1"/>
          <p:nvPr/>
        </p:nvSpPr>
        <p:spPr>
          <a:xfrm>
            <a:off x="5395655" y="1675685"/>
            <a:ext cx="1057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3512BA-4804-4071-9EAE-70973C9B883C}"/>
              </a:ext>
            </a:extLst>
          </p:cNvPr>
          <p:cNvSpPr txBox="1"/>
          <p:nvPr/>
        </p:nvSpPr>
        <p:spPr>
          <a:xfrm>
            <a:off x="8707213" y="1675685"/>
            <a:ext cx="1383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onents</a:t>
            </a:r>
          </a:p>
        </p:txBody>
      </p:sp>
    </p:spTree>
    <p:extLst>
      <p:ext uri="{BB962C8B-B14F-4D97-AF65-F5344CB8AC3E}">
        <p14:creationId xmlns:p14="http://schemas.microsoft.com/office/powerpoint/2010/main" val="2892447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C25FC32F-89F1-EC14-A638-E75B925DA2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C25FC32F-89F1-EC14-A638-E75B925DA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3D29CC-AAAC-F88D-5D4F-8D534C634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The architecture and competencies are the enablers </a:t>
            </a:r>
            <a:r>
              <a:rPr lang="en-US" dirty="0" smtClean="0"/>
              <a:t>upon </a:t>
            </a:r>
            <a:r>
              <a:rPr lang="en-US" dirty="0"/>
              <a:t>which the pillars are built</a:t>
            </a:r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A43C7-D294-6605-61A8-5AFDB3CD2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DE22236-42E4-6C65-78FD-73B78E5BE78C}"/>
              </a:ext>
            </a:extLst>
          </p:cNvPr>
          <p:cNvSpPr/>
          <p:nvPr/>
        </p:nvSpPr>
        <p:spPr>
          <a:xfrm>
            <a:off x="982663" y="5118288"/>
            <a:ext cx="5004000" cy="10952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 system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EF91128-48F3-4B91-65EB-EAC2288DC6DD}"/>
              </a:ext>
            </a:extLst>
          </p:cNvPr>
          <p:cNvSpPr/>
          <p:nvPr/>
        </p:nvSpPr>
        <p:spPr>
          <a:xfrm>
            <a:off x="982664" y="2660160"/>
            <a:ext cx="5004000" cy="18509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e System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3106514-8345-8C3B-2BD5-ACBDBA4466D2}"/>
              </a:ext>
            </a:extLst>
          </p:cNvPr>
          <p:cNvSpPr/>
          <p:nvPr/>
        </p:nvSpPr>
        <p:spPr>
          <a:xfrm>
            <a:off x="1043548" y="3468644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</a:t>
            </a: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6295194-B4A2-4990-279B-E80EE62EA2CD}"/>
              </a:ext>
            </a:extLst>
          </p:cNvPr>
          <p:cNvSpPr/>
          <p:nvPr/>
        </p:nvSpPr>
        <p:spPr>
          <a:xfrm>
            <a:off x="982663" y="2036799"/>
            <a:ext cx="5004000" cy="5766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bound and outbound communica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4EF83D1-2102-7AA2-6F4A-5CEDAC040CCD}"/>
              </a:ext>
            </a:extLst>
          </p:cNvPr>
          <p:cNvSpPr/>
          <p:nvPr/>
        </p:nvSpPr>
        <p:spPr>
          <a:xfrm>
            <a:off x="2699548" y="3468644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Managemen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6CDE269-D7A0-9A5C-599E-9AF498C72454}"/>
              </a:ext>
            </a:extLst>
          </p:cNvPr>
          <p:cNvSpPr/>
          <p:nvPr/>
        </p:nvSpPr>
        <p:spPr>
          <a:xfrm>
            <a:off x="4355548" y="3468644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ce </a:t>
            </a: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i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0D2B114-CE89-A912-D28F-94F7701A87D2}"/>
              </a:ext>
            </a:extLst>
          </p:cNvPr>
          <p:cNvSpPr/>
          <p:nvPr/>
        </p:nvSpPr>
        <p:spPr>
          <a:xfrm>
            <a:off x="1043548" y="3180582"/>
            <a:ext cx="4860000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flow Management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B6DB8A1-1B15-F24F-5E5B-43B06F222BCC}"/>
              </a:ext>
            </a:extLst>
          </p:cNvPr>
          <p:cNvSpPr/>
          <p:nvPr/>
        </p:nvSpPr>
        <p:spPr>
          <a:xfrm>
            <a:off x="982663" y="4551315"/>
            <a:ext cx="5004000" cy="5184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Insights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E8584B3-A2FA-B560-CB1C-A1A7D486C6D0}"/>
              </a:ext>
            </a:extLst>
          </p:cNvPr>
          <p:cNvSpPr/>
          <p:nvPr/>
        </p:nvSpPr>
        <p:spPr>
          <a:xfrm>
            <a:off x="1043548" y="5925479"/>
            <a:ext cx="4860000" cy="21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ity and Privacy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81B46E2-A50B-FE19-D942-5DD776FCF0AD}"/>
              </a:ext>
            </a:extLst>
          </p:cNvPr>
          <p:cNvSpPr/>
          <p:nvPr/>
        </p:nvSpPr>
        <p:spPr>
          <a:xfrm>
            <a:off x="1043548" y="5374754"/>
            <a:ext cx="3204000" cy="215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rds Management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DE7468C-40DB-3406-40E6-D2F204EC17D7}"/>
              </a:ext>
            </a:extLst>
          </p:cNvPr>
          <p:cNvSpPr/>
          <p:nvPr/>
        </p:nvSpPr>
        <p:spPr>
          <a:xfrm>
            <a:off x="1043548" y="3947306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sing 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F46947E-49C5-F98D-31E7-813B29E8E25C}"/>
              </a:ext>
            </a:extLst>
          </p:cNvPr>
          <p:cNvSpPr/>
          <p:nvPr/>
        </p:nvSpPr>
        <p:spPr>
          <a:xfrm>
            <a:off x="2699548" y="3947306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 Management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338283D4-68F6-3593-3662-D37F72100F48}"/>
              </a:ext>
            </a:extLst>
          </p:cNvPr>
          <p:cNvGraphicFramePr>
            <a:graphicFrameLocks noGrp="1"/>
          </p:cNvGraphicFramePr>
          <p:nvPr/>
        </p:nvGraphicFramePr>
        <p:xfrm>
          <a:off x="1043548" y="2240945"/>
          <a:ext cx="4860000" cy="3352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00959">
                  <a:extLst>
                    <a:ext uri="{9D8B030D-6E8A-4147-A177-3AD203B41FA5}">
                      <a16:colId xmlns:a16="http://schemas.microsoft.com/office/drawing/2014/main" val="2917453886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266948062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3404636836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3862782679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3428559150"/>
                    </a:ext>
                  </a:extLst>
                </a:gridCol>
                <a:gridCol w="532269">
                  <a:extLst>
                    <a:ext uri="{9D8B030D-6E8A-4147-A177-3AD203B41FA5}">
                      <a16:colId xmlns:a16="http://schemas.microsoft.com/office/drawing/2014/main" val="177291756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1243512921"/>
                    </a:ext>
                  </a:extLst>
                </a:gridCol>
                <a:gridCol w="465177">
                  <a:extLst>
                    <a:ext uri="{9D8B030D-6E8A-4147-A177-3AD203B41FA5}">
                      <a16:colId xmlns:a16="http://schemas.microsoft.com/office/drawing/2014/main" val="471505576"/>
                    </a:ext>
                  </a:extLst>
                </a:gridCol>
                <a:gridCol w="504496">
                  <a:extLst>
                    <a:ext uri="{9D8B030D-6E8A-4147-A177-3AD203B41FA5}">
                      <a16:colId xmlns:a16="http://schemas.microsoft.com/office/drawing/2014/main" val="3535498647"/>
                    </a:ext>
                  </a:extLst>
                </a:gridCol>
                <a:gridCol w="595824">
                  <a:extLst>
                    <a:ext uri="{9D8B030D-6E8A-4147-A177-3AD203B41FA5}">
                      <a16:colId xmlns:a16="http://schemas.microsoft.com/office/drawing/2014/main" val="1912256010"/>
                    </a:ext>
                  </a:extLst>
                </a:gridCol>
              </a:tblGrid>
              <a:tr h="155149"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Contact Centre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Web form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Email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Direct  Phone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Post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In-person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Social media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Website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Provider portal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Other portals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025793"/>
                  </a:ext>
                </a:extLst>
              </a:tr>
            </a:tbl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D76D6906-A123-4A70-B004-5277AB2C0556}"/>
              </a:ext>
            </a:extLst>
          </p:cNvPr>
          <p:cNvSpPr/>
          <p:nvPr/>
        </p:nvSpPr>
        <p:spPr>
          <a:xfrm>
            <a:off x="1043548" y="2964582"/>
            <a:ext cx="4860000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bound and Outbound Channel Managemen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9587818A-0393-8045-8B25-661A3707C53A}"/>
              </a:ext>
            </a:extLst>
          </p:cNvPr>
          <p:cNvSpPr/>
          <p:nvPr/>
        </p:nvSpPr>
        <p:spPr>
          <a:xfrm>
            <a:off x="1043548" y="5656466"/>
            <a:ext cx="4860000" cy="21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porate systems – Finance, HR, etc.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F37A7F4-5F7E-37D5-5B2E-D90BA2AE4849}"/>
              </a:ext>
            </a:extLst>
          </p:cNvPr>
          <p:cNvSpPr/>
          <p:nvPr/>
        </p:nvSpPr>
        <p:spPr>
          <a:xfrm>
            <a:off x="4355548" y="3947306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 Reporting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525858E-F329-0ECD-5AE8-16EA5A092693}"/>
              </a:ext>
            </a:extLst>
          </p:cNvPr>
          <p:cNvSpPr/>
          <p:nvPr/>
        </p:nvSpPr>
        <p:spPr>
          <a:xfrm>
            <a:off x="4355548" y="5374753"/>
            <a:ext cx="1548000" cy="21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erial Comm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583BF6A-660D-2F6A-7A22-34B31D0C751D}"/>
              </a:ext>
            </a:extLst>
          </p:cNvPr>
          <p:cNvSpPr/>
          <p:nvPr/>
        </p:nvSpPr>
        <p:spPr>
          <a:xfrm>
            <a:off x="2699548" y="4769030"/>
            <a:ext cx="1548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al tool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2CEFD05C-F11B-3EC7-03A0-97407F323D99}"/>
              </a:ext>
            </a:extLst>
          </p:cNvPr>
          <p:cNvSpPr/>
          <p:nvPr/>
        </p:nvSpPr>
        <p:spPr>
          <a:xfrm>
            <a:off x="4355548" y="4769030"/>
            <a:ext cx="1548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rnal sources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70D368B-964E-3A7E-3321-01E6DD625278}"/>
              </a:ext>
            </a:extLst>
          </p:cNvPr>
          <p:cNvSpPr/>
          <p:nvPr/>
        </p:nvSpPr>
        <p:spPr>
          <a:xfrm>
            <a:off x="1043548" y="4769030"/>
            <a:ext cx="1548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alytics Framework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27AC0B6-6CC6-BB68-747E-685D124EB501}"/>
              </a:ext>
            </a:extLst>
          </p:cNvPr>
          <p:cNvSpPr/>
          <p:nvPr/>
        </p:nvSpPr>
        <p:spPr>
          <a:xfrm>
            <a:off x="982663" y="1687743"/>
            <a:ext cx="5003999" cy="276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Architecture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15A0072-F3F5-71E4-D583-0413C7C75866}"/>
              </a:ext>
            </a:extLst>
          </p:cNvPr>
          <p:cNvSpPr/>
          <p:nvPr/>
        </p:nvSpPr>
        <p:spPr>
          <a:xfrm>
            <a:off x="6205338" y="1687743"/>
            <a:ext cx="5003999" cy="276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Competencie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5D8DEC-B927-0590-15F7-338C9FF64D46}"/>
              </a:ext>
            </a:extLst>
          </p:cNvPr>
          <p:cNvSpPr/>
          <p:nvPr/>
        </p:nvSpPr>
        <p:spPr>
          <a:xfrm>
            <a:off x="6205338" y="2036799"/>
            <a:ext cx="5004000" cy="20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mpetenc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84C6BC-F655-D107-C09F-ED2F0E1902DB}"/>
              </a:ext>
            </a:extLst>
          </p:cNvPr>
          <p:cNvSpPr/>
          <p:nvPr/>
        </p:nvSpPr>
        <p:spPr>
          <a:xfrm>
            <a:off x="6196694" y="4180562"/>
            <a:ext cx="5004000" cy="20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Competenc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876237-11E3-3D95-52DF-51E90647E3AB}"/>
              </a:ext>
            </a:extLst>
          </p:cNvPr>
          <p:cNvSpPr/>
          <p:nvPr/>
        </p:nvSpPr>
        <p:spPr>
          <a:xfrm>
            <a:off x="6259639" y="2302263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rategy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strategy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ernance structure and stee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chitecture driving aligned  desig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2AC1D3-C5FF-7D6D-6BFE-9BFE9E83BE68}"/>
              </a:ext>
            </a:extLst>
          </p:cNvPr>
          <p:cNvSpPr/>
          <p:nvPr/>
        </p:nvSpPr>
        <p:spPr>
          <a:xfrm>
            <a:off x="7505998" y="2302262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pability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force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ency develo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leadership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il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ndor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084065-7090-0D15-0B3D-C39512ABB05B}"/>
              </a:ext>
            </a:extLst>
          </p:cNvPr>
          <p:cNvSpPr/>
          <p:nvPr/>
        </p:nvSpPr>
        <p:spPr>
          <a:xfrm>
            <a:off x="8752357" y="2302262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usiness partner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ile initiative pipelin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led process ownership and logic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ssable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suppor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613F8F-9BE8-2EAE-7CB1-30E357A16BED}"/>
              </a:ext>
            </a:extLst>
          </p:cNvPr>
          <p:cNvSpPr/>
          <p:nvPr/>
        </p:nvSpPr>
        <p:spPr>
          <a:xfrm>
            <a:off x="8774715" y="5330616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anage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to internal and external data sour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rity of data sources, meaning and data enginee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dictionar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4045CC-F045-2E38-3D86-72388677CF37}"/>
              </a:ext>
            </a:extLst>
          </p:cNvPr>
          <p:cNvSpPr/>
          <p:nvPr/>
        </p:nvSpPr>
        <p:spPr>
          <a:xfrm>
            <a:off x="6259639" y="4415729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governanc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 data governance and policy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roles and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ibilities,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luding data stewar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9CA5467-6074-0B89-6A93-309916F13FA3}"/>
              </a:ext>
            </a:extLst>
          </p:cNvPr>
          <p:cNvSpPr/>
          <p:nvPr/>
        </p:nvSpPr>
        <p:spPr>
          <a:xfrm>
            <a:off x="6259639" y="5330616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igh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f service reporting and analytics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al tools and insight 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CC8884-CF2C-1E1D-C5A0-5C9FB68D96B9}"/>
              </a:ext>
            </a:extLst>
          </p:cNvPr>
          <p:cNvSpPr/>
          <p:nvPr/>
        </p:nvSpPr>
        <p:spPr>
          <a:xfrm>
            <a:off x="8774715" y="4415729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c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 and consistent frameworks applied to identify and assess risk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ture focused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achine learning / AI enabled  Commiss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1A85B3-7F90-970E-0AD6-14CE90932D84}"/>
              </a:ext>
            </a:extLst>
          </p:cNvPr>
          <p:cNvSpPr/>
          <p:nvPr/>
        </p:nvSpPr>
        <p:spPr>
          <a:xfrm>
            <a:off x="9998715" y="2302262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gilit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competency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ntinuous improvement capability </a:t>
            </a:r>
          </a:p>
        </p:txBody>
      </p:sp>
    </p:spTree>
    <p:extLst>
      <p:ext uri="{BB962C8B-B14F-4D97-AF65-F5344CB8AC3E}">
        <p14:creationId xmlns:p14="http://schemas.microsoft.com/office/powerpoint/2010/main" val="3993994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C25FC32F-89F1-EC14-A638-E75B925DA2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6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C25FC32F-89F1-EC14-A638-E75B925DA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1D80E77E-F565-8059-A19C-CE3A0B3CA655}"/>
              </a:ext>
            </a:extLst>
          </p:cNvPr>
          <p:cNvSpPr/>
          <p:nvPr/>
        </p:nvSpPr>
        <p:spPr>
          <a:xfrm>
            <a:off x="982663" y="5118288"/>
            <a:ext cx="5004000" cy="10952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 system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61E01DE-2FC5-4EC5-248C-11C8614F155A}"/>
              </a:ext>
            </a:extLst>
          </p:cNvPr>
          <p:cNvSpPr/>
          <p:nvPr/>
        </p:nvSpPr>
        <p:spPr>
          <a:xfrm>
            <a:off x="982664" y="2660160"/>
            <a:ext cx="5004000" cy="18509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e System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3D29CC-AAAC-F88D-5D4F-8D534C634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AU" sz="3200" dirty="0"/>
              <a:t>The system architecture is a key enabler of the </a:t>
            </a:r>
            <a:r>
              <a:rPr lang="en-AU" sz="3200" dirty="0" smtClean="0"/>
              <a:t>data and digital outcomes</a:t>
            </a:r>
            <a:endParaRPr lang="en-GB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A43C7-D294-6605-61A8-5AFDB3CD2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91599D-1C63-CCCD-2A6C-F9B2A0670801}"/>
              </a:ext>
            </a:extLst>
          </p:cNvPr>
          <p:cNvSpPr/>
          <p:nvPr/>
        </p:nvSpPr>
        <p:spPr>
          <a:xfrm>
            <a:off x="1043548" y="3468644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act Management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E6B58-FD03-2240-DFF5-A746772AE17D}"/>
              </a:ext>
            </a:extLst>
          </p:cNvPr>
          <p:cNvSpPr/>
          <p:nvPr/>
        </p:nvSpPr>
        <p:spPr>
          <a:xfrm>
            <a:off x="982663" y="2036799"/>
            <a:ext cx="5004000" cy="5766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bound and outbound communica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A2888B-485C-9C1D-C93E-B4D5E121511C}"/>
              </a:ext>
            </a:extLst>
          </p:cNvPr>
          <p:cNvSpPr/>
          <p:nvPr/>
        </p:nvSpPr>
        <p:spPr>
          <a:xfrm>
            <a:off x="2699548" y="3468644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Managemen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2A0A6FF-45AF-A32E-83B9-EF2A21AE84BC}"/>
              </a:ext>
            </a:extLst>
          </p:cNvPr>
          <p:cNvSpPr/>
          <p:nvPr/>
        </p:nvSpPr>
        <p:spPr>
          <a:xfrm>
            <a:off x="4355548" y="3468644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ce </a:t>
            </a: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is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F9B890-2D0E-FEAA-72A7-244A5ED31FD9}"/>
              </a:ext>
            </a:extLst>
          </p:cNvPr>
          <p:cNvSpPr/>
          <p:nvPr/>
        </p:nvSpPr>
        <p:spPr>
          <a:xfrm>
            <a:off x="1043548" y="3180582"/>
            <a:ext cx="4860000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flow Mana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BDA346-C478-5ECE-1F93-D8B337C1F9D2}"/>
              </a:ext>
            </a:extLst>
          </p:cNvPr>
          <p:cNvSpPr/>
          <p:nvPr/>
        </p:nvSpPr>
        <p:spPr>
          <a:xfrm>
            <a:off x="982663" y="4551315"/>
            <a:ext cx="5004000" cy="5184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Insight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800DEB-BB38-B111-48CB-6035D19A7070}"/>
              </a:ext>
            </a:extLst>
          </p:cNvPr>
          <p:cNvSpPr/>
          <p:nvPr/>
        </p:nvSpPr>
        <p:spPr>
          <a:xfrm>
            <a:off x="1043548" y="5925479"/>
            <a:ext cx="4860000" cy="21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ity and Privac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82CA11-5A57-C59D-750A-B9754A966DB8}"/>
              </a:ext>
            </a:extLst>
          </p:cNvPr>
          <p:cNvSpPr/>
          <p:nvPr/>
        </p:nvSpPr>
        <p:spPr>
          <a:xfrm>
            <a:off x="1043548" y="5374754"/>
            <a:ext cx="3204000" cy="215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rds Manag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4E15DB6-124F-E541-18DB-D6F7236977AF}"/>
              </a:ext>
            </a:extLst>
          </p:cNvPr>
          <p:cNvSpPr/>
          <p:nvPr/>
        </p:nvSpPr>
        <p:spPr>
          <a:xfrm>
            <a:off x="1043548" y="3947306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sing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F0EE4C-EB62-5988-B549-9AD60E9B2ED6}"/>
              </a:ext>
            </a:extLst>
          </p:cNvPr>
          <p:cNvSpPr/>
          <p:nvPr/>
        </p:nvSpPr>
        <p:spPr>
          <a:xfrm>
            <a:off x="2699548" y="3947306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ase Management</a:t>
            </a: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5FC2C7AC-E712-7575-F55E-77BE6A91B3BD}"/>
              </a:ext>
            </a:extLst>
          </p:cNvPr>
          <p:cNvGraphicFramePr>
            <a:graphicFrameLocks noGrp="1"/>
          </p:cNvGraphicFramePr>
          <p:nvPr/>
        </p:nvGraphicFramePr>
        <p:xfrm>
          <a:off x="1043548" y="2240945"/>
          <a:ext cx="4860000" cy="3352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00959">
                  <a:extLst>
                    <a:ext uri="{9D8B030D-6E8A-4147-A177-3AD203B41FA5}">
                      <a16:colId xmlns:a16="http://schemas.microsoft.com/office/drawing/2014/main" val="2917453886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266948062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3404636836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3862782679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3428559150"/>
                    </a:ext>
                  </a:extLst>
                </a:gridCol>
                <a:gridCol w="532269">
                  <a:extLst>
                    <a:ext uri="{9D8B030D-6E8A-4147-A177-3AD203B41FA5}">
                      <a16:colId xmlns:a16="http://schemas.microsoft.com/office/drawing/2014/main" val="177291756"/>
                    </a:ext>
                  </a:extLst>
                </a:gridCol>
                <a:gridCol w="452255">
                  <a:extLst>
                    <a:ext uri="{9D8B030D-6E8A-4147-A177-3AD203B41FA5}">
                      <a16:colId xmlns:a16="http://schemas.microsoft.com/office/drawing/2014/main" val="1243512921"/>
                    </a:ext>
                  </a:extLst>
                </a:gridCol>
                <a:gridCol w="465177">
                  <a:extLst>
                    <a:ext uri="{9D8B030D-6E8A-4147-A177-3AD203B41FA5}">
                      <a16:colId xmlns:a16="http://schemas.microsoft.com/office/drawing/2014/main" val="471505576"/>
                    </a:ext>
                  </a:extLst>
                </a:gridCol>
                <a:gridCol w="504496">
                  <a:extLst>
                    <a:ext uri="{9D8B030D-6E8A-4147-A177-3AD203B41FA5}">
                      <a16:colId xmlns:a16="http://schemas.microsoft.com/office/drawing/2014/main" val="3535498647"/>
                    </a:ext>
                  </a:extLst>
                </a:gridCol>
                <a:gridCol w="595824">
                  <a:extLst>
                    <a:ext uri="{9D8B030D-6E8A-4147-A177-3AD203B41FA5}">
                      <a16:colId xmlns:a16="http://schemas.microsoft.com/office/drawing/2014/main" val="1912256010"/>
                    </a:ext>
                  </a:extLst>
                </a:gridCol>
              </a:tblGrid>
              <a:tr h="155149"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Contact Centre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Web form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Email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Direct  Phone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Post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In-person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Social media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Website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Provider portal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i="0" dirty="0">
                          <a:solidFill>
                            <a:schemeClr val="tx1"/>
                          </a:solidFill>
                        </a:rPr>
                        <a:t>Other portals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025793"/>
                  </a:ext>
                </a:extLst>
              </a:tr>
            </a:tbl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5673DB65-DEDA-1023-6768-1FDD0A7D84C7}"/>
              </a:ext>
            </a:extLst>
          </p:cNvPr>
          <p:cNvSpPr/>
          <p:nvPr/>
        </p:nvSpPr>
        <p:spPr>
          <a:xfrm>
            <a:off x="1043548" y="2905220"/>
            <a:ext cx="4860000" cy="21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bound and Outbound Channel Manageme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03A42AD-FC26-917F-C8D4-8F1A4BBD8682}"/>
              </a:ext>
            </a:extLst>
          </p:cNvPr>
          <p:cNvSpPr/>
          <p:nvPr/>
        </p:nvSpPr>
        <p:spPr>
          <a:xfrm>
            <a:off x="1043548" y="5656466"/>
            <a:ext cx="4860000" cy="21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porate systems – Finance, HR, etc.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3CE2B5E-94F3-8482-68FD-829026D99142}"/>
              </a:ext>
            </a:extLst>
          </p:cNvPr>
          <p:cNvSpPr/>
          <p:nvPr/>
        </p:nvSpPr>
        <p:spPr>
          <a:xfrm>
            <a:off x="4355548" y="3947306"/>
            <a:ext cx="1548000" cy="4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 Reporting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42DC1B8-95DD-9B05-42A1-12423312CA52}"/>
              </a:ext>
            </a:extLst>
          </p:cNvPr>
          <p:cNvSpPr/>
          <p:nvPr/>
        </p:nvSpPr>
        <p:spPr>
          <a:xfrm>
            <a:off x="4355548" y="5374753"/>
            <a:ext cx="1548000" cy="21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erial Comm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744CC46-2C4B-12B8-79CA-D84BEE44EA81}"/>
              </a:ext>
            </a:extLst>
          </p:cNvPr>
          <p:cNvSpPr/>
          <p:nvPr/>
        </p:nvSpPr>
        <p:spPr>
          <a:xfrm>
            <a:off x="2699548" y="4769030"/>
            <a:ext cx="1548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al tool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CEA8EEA-DE6B-F485-DF2F-6401CF0F101F}"/>
              </a:ext>
            </a:extLst>
          </p:cNvPr>
          <p:cNvSpPr/>
          <p:nvPr/>
        </p:nvSpPr>
        <p:spPr>
          <a:xfrm>
            <a:off x="4355548" y="4769030"/>
            <a:ext cx="1548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rnal sourc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0C468CE-8D2D-514C-72A8-5EC191C64028}"/>
              </a:ext>
            </a:extLst>
          </p:cNvPr>
          <p:cNvSpPr/>
          <p:nvPr/>
        </p:nvSpPr>
        <p:spPr>
          <a:xfrm>
            <a:off x="1043548" y="4769030"/>
            <a:ext cx="1548000" cy="21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alytics Framework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B7276D5E-C29D-50BD-7AAD-DEF5F7101271}"/>
              </a:ext>
            </a:extLst>
          </p:cNvPr>
          <p:cNvSpPr/>
          <p:nvPr/>
        </p:nvSpPr>
        <p:spPr>
          <a:xfrm>
            <a:off x="982663" y="1687743"/>
            <a:ext cx="5003999" cy="276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Archite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1C3798-DD9C-7020-B4AB-D7E7BD6B4776}"/>
              </a:ext>
            </a:extLst>
          </p:cNvPr>
          <p:cNvSpPr txBox="1"/>
          <p:nvPr/>
        </p:nvSpPr>
        <p:spPr>
          <a:xfrm>
            <a:off x="6205338" y="2024063"/>
            <a:ext cx="5004000" cy="81560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 channel management brings together in-bound contact regardless of the source – phone, web, socials, e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A34242-7725-3983-63F5-7A3070175053}"/>
              </a:ext>
            </a:extLst>
          </p:cNvPr>
          <p:cNvSpPr txBox="1"/>
          <p:nvPr/>
        </p:nvSpPr>
        <p:spPr>
          <a:xfrm>
            <a:off x="6245747" y="4604472"/>
            <a:ext cx="5004000" cy="132343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to internal data and direct feed of external information to support analytics and insight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rds management integrated into normal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 effective standard corporate systems supporting ‘back office’ activ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A7A54E-D331-D063-CFA0-5A0C3DBC2E7D}"/>
              </a:ext>
            </a:extLst>
          </p:cNvPr>
          <p:cNvSpPr txBox="1"/>
          <p:nvPr/>
        </p:nvSpPr>
        <p:spPr>
          <a:xfrm>
            <a:off x="6205338" y="3051608"/>
            <a:ext cx="5004000" cy="10310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re systems can be delivered by one application or a group of connected specialist systems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the level of automation and support a single source of dat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69865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C25FC32F-89F1-EC14-A638-E75B925DA2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3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C25FC32F-89F1-EC14-A638-E75B925DA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3D29CC-AAAC-F88D-5D4F-8D534C6343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AU" dirty="0" smtClean="0"/>
              <a:t>Data and digital </a:t>
            </a:r>
            <a:r>
              <a:rPr lang="en-AU" dirty="0"/>
              <a:t>competencies are required to ensure the benefits of the technology are maximis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A43C7-D294-6605-61A8-5AFDB3CD2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9A881C3-1900-FADA-593B-5B7804AC6598}"/>
              </a:ext>
            </a:extLst>
          </p:cNvPr>
          <p:cNvSpPr txBox="1"/>
          <p:nvPr/>
        </p:nvSpPr>
        <p:spPr>
          <a:xfrm>
            <a:off x="982662" y="2043017"/>
            <a:ext cx="500400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y and architecture capabilities ensure that the ongoing development of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CT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s and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ed capabilitie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rdinated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directed towards a common go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ompetency model guides the areas of staff development for both technical and operational staf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GB" sz="1400" dirty="0" smtClean="0">
                <a:solidFill>
                  <a:prstClr val="black"/>
                </a:solidFill>
              </a:rPr>
              <a:t>Systems architecture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s a data toolkit.</a:t>
            </a:r>
            <a:r>
              <a:rPr kumimoji="0" lang="en-GB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 capabilities </a:t>
            </a:r>
            <a:r>
              <a:rPr lang="en-GB" sz="1400" dirty="0" smtClean="0">
                <a:solidFill>
                  <a:prstClr val="black"/>
                </a:solidFill>
                <a:latin typeface="Calibri" panose="020F0502020204030204"/>
              </a:rPr>
              <a:t>will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 to be enhanced to ensure ongoing qu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ing new analytical and reporting tools with the ability for self service spread throughout the 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tion, with appropriate controls in place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1AF7CD4-350F-9088-60A1-21E19D672E20}"/>
              </a:ext>
            </a:extLst>
          </p:cNvPr>
          <p:cNvSpPr/>
          <p:nvPr/>
        </p:nvSpPr>
        <p:spPr>
          <a:xfrm>
            <a:off x="6205338" y="2035757"/>
            <a:ext cx="5004000" cy="205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mpetency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06E6F3D2-5F87-91C3-3293-F2111E4435E1}"/>
              </a:ext>
            </a:extLst>
          </p:cNvPr>
          <p:cNvSpPr/>
          <p:nvPr/>
        </p:nvSpPr>
        <p:spPr>
          <a:xfrm>
            <a:off x="6196694" y="4161512"/>
            <a:ext cx="5004000" cy="2052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Competenc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3E589DA-5C13-6083-9F87-04CBA2277769}"/>
              </a:ext>
            </a:extLst>
          </p:cNvPr>
          <p:cNvSpPr/>
          <p:nvPr/>
        </p:nvSpPr>
        <p:spPr>
          <a:xfrm>
            <a:off x="6259639" y="2283213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trategy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Roadmap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ernance structure and </a:t>
            </a: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ering committee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chitecture driving aligned  desig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A4EDC1E-FA1B-AD51-0790-8E74990AE3BE}"/>
              </a:ext>
            </a:extLst>
          </p:cNvPr>
          <p:cNvSpPr/>
          <p:nvPr/>
        </p:nvSpPr>
        <p:spPr>
          <a:xfrm>
            <a:off x="7505998" y="2283212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apability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force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ency develo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leadership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il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ndor management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F2D2D73-8B35-DE62-77EE-5139DC5F03C1}"/>
              </a:ext>
            </a:extLst>
          </p:cNvPr>
          <p:cNvSpPr/>
          <p:nvPr/>
        </p:nvSpPr>
        <p:spPr>
          <a:xfrm>
            <a:off x="8752357" y="2283212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usiness partner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ile initiative pipeline manage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led process ownership and logic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essable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suppor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907EDB9E-D4C3-FA50-DE51-20AF92672E83}"/>
              </a:ext>
            </a:extLst>
          </p:cNvPr>
          <p:cNvSpPr/>
          <p:nvPr/>
        </p:nvSpPr>
        <p:spPr>
          <a:xfrm>
            <a:off x="8774715" y="5311566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management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to internal and external data sourc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rity of data sources, meaning and data enginee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dictionar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57E98CA-1BE4-953E-1B43-8491C0736B54}"/>
              </a:ext>
            </a:extLst>
          </p:cNvPr>
          <p:cNvSpPr/>
          <p:nvPr/>
        </p:nvSpPr>
        <p:spPr>
          <a:xfrm>
            <a:off x="6259639" y="4396679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governanc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 data governance and policy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roles and responsibilities including data steward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DC2103B-34B7-65AA-1C71-BB0E8BAB329B}"/>
              </a:ext>
            </a:extLst>
          </p:cNvPr>
          <p:cNvSpPr/>
          <p:nvPr/>
        </p:nvSpPr>
        <p:spPr>
          <a:xfrm>
            <a:off x="6259639" y="5311566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igh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f service reporting and analytics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tical tools and insight 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0B15D3C-D985-29CD-2151-F5C8AA9E296E}"/>
              </a:ext>
            </a:extLst>
          </p:cNvPr>
          <p:cNvSpPr/>
          <p:nvPr/>
        </p:nvSpPr>
        <p:spPr>
          <a:xfrm>
            <a:off x="8774715" y="4396679"/>
            <a:ext cx="2376000" cy="82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c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 and consistent frameworks applied to identify and assess risk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ture focused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ine learning / AI enabled Commission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62A4333-E8B2-B165-F82A-8DA93D9FC227}"/>
              </a:ext>
            </a:extLst>
          </p:cNvPr>
          <p:cNvSpPr/>
          <p:nvPr/>
        </p:nvSpPr>
        <p:spPr>
          <a:xfrm>
            <a:off x="6205338" y="1694823"/>
            <a:ext cx="5003999" cy="276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en-GB" sz="1200" b="1" dirty="0" smtClean="0">
                <a:solidFill>
                  <a:prstClr val="black"/>
                </a:solidFill>
              </a:rPr>
              <a:t>Data and Digital 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encie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F16D32E-3DB2-C2A0-89BC-56386C3042D9}"/>
              </a:ext>
            </a:extLst>
          </p:cNvPr>
          <p:cNvSpPr/>
          <p:nvPr/>
        </p:nvSpPr>
        <p:spPr>
          <a:xfrm>
            <a:off x="9998715" y="2283212"/>
            <a:ext cx="1152000" cy="16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72000"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gility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competency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ntinuous improvement capability </a:t>
            </a:r>
          </a:p>
        </p:txBody>
      </p:sp>
    </p:spTree>
    <p:extLst>
      <p:ext uri="{BB962C8B-B14F-4D97-AF65-F5344CB8AC3E}">
        <p14:creationId xmlns:p14="http://schemas.microsoft.com/office/powerpoint/2010/main" val="75640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AA06FC-779C-D911-2E0A-1459AB6274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77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6" name="think-cell Slide" r:id="rId10" imgW="622" imgH="623" progId="TCLayout.ActiveDocument.1">
                  <p:embed/>
                </p:oleObj>
              </mc:Choice>
              <mc:Fallback>
                <p:oleObj name="think-cell Slide" r:id="rId10" imgW="622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AA06FC-779C-D911-2E0A-1459AB6274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D4AFF6-2FE2-F1B9-FE1C-1C57AA780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481829" cy="1376364"/>
          </a:xfrm>
        </p:spPr>
        <p:txBody>
          <a:bodyPr vert="horz"/>
          <a:lstStyle/>
          <a:p>
            <a:r>
              <a:rPr lang="en-GB" dirty="0"/>
              <a:t>The Data and Digital </a:t>
            </a:r>
            <a:r>
              <a:rPr lang="en-GB" dirty="0" smtClean="0"/>
              <a:t>Roadmap </a:t>
            </a:r>
            <a:r>
              <a:rPr lang="en-GB" dirty="0"/>
              <a:t>will deliver significant </a:t>
            </a:r>
            <a:r>
              <a:rPr lang="en-GB" dirty="0" smtClean="0"/>
              <a:t>improvements </a:t>
            </a:r>
            <a:r>
              <a:rPr lang="en-GB" dirty="0"/>
              <a:t>across six primary are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6E29C1-5024-3ADE-7AFE-8559E25B0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D1A9E9AB-A1DB-FF7C-426D-0B9C9C2029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281773"/>
              </p:ext>
            </p:extLst>
          </p:nvPr>
        </p:nvGraphicFramePr>
        <p:xfrm>
          <a:off x="982663" y="1535952"/>
          <a:ext cx="10559516" cy="4664823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828382">
                  <a:extLst>
                    <a:ext uri="{9D8B030D-6E8A-4147-A177-3AD203B41FA5}">
                      <a16:colId xmlns:a16="http://schemas.microsoft.com/office/drawing/2014/main" val="4108759487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3658100432"/>
                    </a:ext>
                  </a:extLst>
                </a:gridCol>
                <a:gridCol w="3323134">
                  <a:extLst>
                    <a:ext uri="{9D8B030D-6E8A-4147-A177-3AD203B41FA5}">
                      <a16:colId xmlns:a16="http://schemas.microsoft.com/office/drawing/2014/main" val="1836376903"/>
                    </a:ext>
                  </a:extLst>
                </a:gridCol>
                <a:gridCol w="4248000">
                  <a:extLst>
                    <a:ext uri="{9D8B030D-6E8A-4147-A177-3AD203B41FA5}">
                      <a16:colId xmlns:a16="http://schemas.microsoft.com/office/drawing/2014/main" val="3374392876"/>
                    </a:ext>
                  </a:extLst>
                </a:gridCol>
              </a:tblGrid>
              <a:tr h="479131">
                <a:tc gridSpan="2"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Workstream</a:t>
                      </a:r>
                    </a:p>
                  </a:txBody>
                  <a:tcPr anchor="b"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Solution</a:t>
                      </a:r>
                    </a:p>
                  </a:txBody>
                  <a:tcPr anchor="b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</a:rPr>
                        <a:t>Outcome</a:t>
                      </a:r>
                    </a:p>
                  </a:txBody>
                  <a:tcPr anchor="b"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385886"/>
                  </a:ext>
                </a:extLst>
              </a:tr>
              <a:tr h="698508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bg1"/>
                          </a:solidFill>
                        </a:rPr>
                        <a:t>1. Modernise core system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mplement core system </a:t>
                      </a:r>
                      <a:r>
                        <a:rPr lang="en-US" sz="1100" dirty="0" smtClean="0"/>
                        <a:t>that </a:t>
                      </a:r>
                      <a:r>
                        <a:rPr lang="en-US" sz="1100" dirty="0"/>
                        <a:t>delivers the required capabilities of the Commission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mproved participant outcomes through enhanced risk identific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mproved productiv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Single source of trut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021802"/>
                  </a:ext>
                </a:extLst>
              </a:tr>
              <a:tr h="698508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bg1"/>
                          </a:solidFill>
                        </a:rPr>
                        <a:t>2. Data and intelligence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Stand-up data governan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Provide enhanced data analysis tools and train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Establish risk framework and integrate into system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mproved identification and response to both immediate and systemic ris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Proactive identification of risk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82553"/>
                  </a:ext>
                </a:extLst>
              </a:tr>
              <a:tr h="698508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bg1"/>
                          </a:solidFill>
                        </a:rPr>
                        <a:t>3. External Interface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mprove automatic transfers of information between the Commission and external agenci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mprove linkage to provider systems</a:t>
                      </a:r>
                      <a:endParaRPr lang="en-GB" sz="11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dirty="0"/>
                        <a:t>Less time spent on obtaining external inform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dirty="0"/>
                        <a:t>Higher quality and greater range of information available to the Commis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970129"/>
                  </a:ext>
                </a:extLst>
              </a:tr>
              <a:tr h="698508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bg1"/>
                          </a:solidFill>
                        </a:rPr>
                        <a:t>4. Accessibility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Improve accessibility of channels into the Commiss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Ensure new systems meet accessibility standards</a:t>
                      </a:r>
                      <a:endParaRPr lang="en-GB" sz="11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Seamless interaction between participants and the Commiss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mproved participant experience and trust in Commiss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8592965"/>
                  </a:ext>
                </a:extLst>
              </a:tr>
              <a:tr h="695830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bg1"/>
                          </a:solidFill>
                        </a:rPr>
                        <a:t>5. Optimised Processe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Optimise and standardise current process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Assign process ownership to funct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Automate simple and repetitive processe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mproves operational efficiency, freeing up capacity to handle increased workloads, more effectively safeguard participant rights and improve quality of service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791710"/>
                  </a:ext>
                </a:extLst>
              </a:tr>
              <a:tr h="695830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bg1"/>
                          </a:solidFill>
                        </a:rPr>
                        <a:t>6. IT operating model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Set up operating rhythms with funct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Implement non-core system solutions to support business function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Solutions developed are fit-for-purpose and tools support Commission operat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/>
                        <a:t>More agile and responsive system development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738030"/>
                  </a:ext>
                </a:extLst>
              </a:tr>
            </a:tbl>
          </a:graphicData>
        </a:graphic>
      </p:graphicFrame>
      <p:grpSp>
        <p:nvGrpSpPr>
          <p:cNvPr id="5" name="Computer Google Shape;13388;p63">
            <a:extLst>
              <a:ext uri="{FF2B5EF4-FFF2-40B4-BE49-F238E27FC236}">
                <a16:creationId xmlns:a16="http://schemas.microsoft.com/office/drawing/2014/main" id="{EA2EC6F8-FFCE-47C7-9E5D-B28EA48AB2E2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1211833" y="2124968"/>
            <a:ext cx="442180" cy="465545"/>
            <a:chOff x="10646858" y="3867484"/>
            <a:chExt cx="440145" cy="463403"/>
          </a:xfrm>
          <a:solidFill>
            <a:srgbClr val="FFFFFF"/>
          </a:solidFill>
        </p:grpSpPr>
        <p:sp>
          <p:nvSpPr>
            <p:cNvPr id="68" name="Google Shape;13389;p63">
              <a:extLst>
                <a:ext uri="{FF2B5EF4-FFF2-40B4-BE49-F238E27FC236}">
                  <a16:creationId xmlns:a16="http://schemas.microsoft.com/office/drawing/2014/main" id="{42ED4774-9653-415F-A65B-5DCDF88EF5D5}"/>
                </a:ext>
              </a:extLst>
            </p:cNvPr>
            <p:cNvSpPr/>
            <p:nvPr/>
          </p:nvSpPr>
          <p:spPr>
            <a:xfrm>
              <a:off x="10858591" y="4193932"/>
              <a:ext cx="17697" cy="14175"/>
            </a:xfrm>
            <a:custGeom>
              <a:avLst/>
              <a:gdLst/>
              <a:ahLst/>
              <a:cxnLst/>
              <a:rect l="l" t="t" r="r" b="b"/>
              <a:pathLst>
                <a:path w="417" h="334" extrusionOk="0">
                  <a:moveTo>
                    <a:pt x="155" y="0"/>
                  </a:moveTo>
                  <a:cubicBezTo>
                    <a:pt x="72" y="0"/>
                    <a:pt x="0" y="71"/>
                    <a:pt x="0" y="167"/>
                  </a:cubicBezTo>
                  <a:cubicBezTo>
                    <a:pt x="0" y="250"/>
                    <a:pt x="72" y="333"/>
                    <a:pt x="155" y="333"/>
                  </a:cubicBezTo>
                  <a:lnTo>
                    <a:pt x="250" y="333"/>
                  </a:lnTo>
                  <a:cubicBezTo>
                    <a:pt x="334" y="333"/>
                    <a:pt x="417" y="250"/>
                    <a:pt x="417" y="167"/>
                  </a:cubicBezTo>
                  <a:cubicBezTo>
                    <a:pt x="393" y="60"/>
                    <a:pt x="334" y="0"/>
                    <a:pt x="25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Google Shape;13390;p63">
              <a:extLst>
                <a:ext uri="{FF2B5EF4-FFF2-40B4-BE49-F238E27FC236}">
                  <a16:creationId xmlns:a16="http://schemas.microsoft.com/office/drawing/2014/main" id="{378B4AFD-A4B3-41B0-9AAB-B55A410B0A72}"/>
                </a:ext>
              </a:extLst>
            </p:cNvPr>
            <p:cNvSpPr/>
            <p:nvPr/>
          </p:nvSpPr>
          <p:spPr>
            <a:xfrm>
              <a:off x="10884352" y="4007960"/>
              <a:ext cx="43" cy="43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Google Shape;13391;p63">
              <a:extLst>
                <a:ext uri="{FF2B5EF4-FFF2-40B4-BE49-F238E27FC236}">
                  <a16:creationId xmlns:a16="http://schemas.microsoft.com/office/drawing/2014/main" id="{AAD8C8F8-E051-4691-9499-55672FA6EF2F}"/>
                </a:ext>
              </a:extLst>
            </p:cNvPr>
            <p:cNvSpPr/>
            <p:nvPr/>
          </p:nvSpPr>
          <p:spPr>
            <a:xfrm>
              <a:off x="10884352" y="4007960"/>
              <a:ext cx="7129" cy="14684"/>
            </a:xfrm>
            <a:custGeom>
              <a:avLst/>
              <a:gdLst/>
              <a:ahLst/>
              <a:cxnLst/>
              <a:rect l="l" t="t" r="r" b="b"/>
              <a:pathLst>
                <a:path w="168" h="346" extrusionOk="0">
                  <a:moveTo>
                    <a:pt x="1" y="1"/>
                  </a:moveTo>
                  <a:cubicBezTo>
                    <a:pt x="20" y="70"/>
                    <a:pt x="97" y="228"/>
                    <a:pt x="143" y="308"/>
                  </a:cubicBezTo>
                  <a:lnTo>
                    <a:pt x="143" y="308"/>
                  </a:lnTo>
                  <a:cubicBezTo>
                    <a:pt x="118" y="259"/>
                    <a:pt x="78" y="164"/>
                    <a:pt x="1" y="1"/>
                  </a:cubicBezTo>
                  <a:close/>
                  <a:moveTo>
                    <a:pt x="143" y="308"/>
                  </a:moveTo>
                  <a:lnTo>
                    <a:pt x="143" y="308"/>
                  </a:lnTo>
                  <a:cubicBezTo>
                    <a:pt x="153" y="327"/>
                    <a:pt x="161" y="339"/>
                    <a:pt x="167" y="346"/>
                  </a:cubicBezTo>
                  <a:cubicBezTo>
                    <a:pt x="161" y="338"/>
                    <a:pt x="153" y="325"/>
                    <a:pt x="143" y="3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Google Shape;13392;p63">
              <a:extLst>
                <a:ext uri="{FF2B5EF4-FFF2-40B4-BE49-F238E27FC236}">
                  <a16:creationId xmlns:a16="http://schemas.microsoft.com/office/drawing/2014/main" id="{BCF83D02-C1A0-462D-A617-8ACF2C1BF979}"/>
                </a:ext>
              </a:extLst>
            </p:cNvPr>
            <p:cNvSpPr/>
            <p:nvPr/>
          </p:nvSpPr>
          <p:spPr>
            <a:xfrm>
              <a:off x="10884352" y="4007451"/>
              <a:ext cx="43" cy="552"/>
            </a:xfrm>
            <a:custGeom>
              <a:avLst/>
              <a:gdLst/>
              <a:ahLst/>
              <a:cxnLst/>
              <a:rect l="l" t="t" r="r" b="b"/>
              <a:pathLst>
                <a:path w="1" h="13" extrusionOk="0">
                  <a:moveTo>
                    <a:pt x="1" y="1"/>
                  </a:moveTo>
                  <a:cubicBezTo>
                    <a:pt x="1" y="13"/>
                    <a:pt x="1" y="13"/>
                    <a:pt x="1" y="1"/>
                  </a:cubicBezTo>
                  <a:cubicBezTo>
                    <a:pt x="1" y="13"/>
                    <a:pt x="1" y="13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Google Shape;13393;p63">
              <a:extLst>
                <a:ext uri="{FF2B5EF4-FFF2-40B4-BE49-F238E27FC236}">
                  <a16:creationId xmlns:a16="http://schemas.microsoft.com/office/drawing/2014/main" id="{01CA68CA-3520-4897-9E18-30CB38DC099A}"/>
                </a:ext>
              </a:extLst>
            </p:cNvPr>
            <p:cNvSpPr/>
            <p:nvPr/>
          </p:nvSpPr>
          <p:spPr>
            <a:xfrm>
              <a:off x="10891439" y="4022603"/>
              <a:ext cx="43" cy="1061"/>
            </a:xfrm>
            <a:custGeom>
              <a:avLst/>
              <a:gdLst/>
              <a:ahLst/>
              <a:cxnLst/>
              <a:rect l="l" t="t" r="r" b="b"/>
              <a:pathLst>
                <a:path w="1" h="25" extrusionOk="0">
                  <a:moveTo>
                    <a:pt x="0" y="1"/>
                  </a:moveTo>
                  <a:cubicBezTo>
                    <a:pt x="0" y="25"/>
                    <a:pt x="0" y="25"/>
                    <a:pt x="0" y="1"/>
                  </a:cubicBezTo>
                  <a:cubicBezTo>
                    <a:pt x="0" y="25"/>
                    <a:pt x="0" y="25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Google Shape;13394;p63">
              <a:extLst>
                <a:ext uri="{FF2B5EF4-FFF2-40B4-BE49-F238E27FC236}">
                  <a16:creationId xmlns:a16="http://schemas.microsoft.com/office/drawing/2014/main" id="{E5E22868-78FA-47AE-B6BC-0B4AAE058255}"/>
                </a:ext>
              </a:extLst>
            </p:cNvPr>
            <p:cNvSpPr/>
            <p:nvPr/>
          </p:nvSpPr>
          <p:spPr>
            <a:xfrm>
              <a:off x="10646858" y="3867484"/>
              <a:ext cx="440145" cy="463403"/>
            </a:xfrm>
            <a:custGeom>
              <a:avLst/>
              <a:gdLst/>
              <a:ahLst/>
              <a:cxnLst/>
              <a:rect l="l" t="t" r="r" b="b"/>
              <a:pathLst>
                <a:path w="10371" h="10919" extrusionOk="0">
                  <a:moveTo>
                    <a:pt x="5120" y="3060"/>
                  </a:moveTo>
                  <a:lnTo>
                    <a:pt x="5358" y="3572"/>
                  </a:lnTo>
                  <a:lnTo>
                    <a:pt x="4882" y="3572"/>
                  </a:lnTo>
                  <a:lnTo>
                    <a:pt x="5120" y="3060"/>
                  </a:lnTo>
                  <a:close/>
                  <a:moveTo>
                    <a:pt x="5501" y="3882"/>
                  </a:moveTo>
                  <a:lnTo>
                    <a:pt x="5644" y="4180"/>
                  </a:lnTo>
                  <a:lnTo>
                    <a:pt x="4596" y="4180"/>
                  </a:lnTo>
                  <a:lnTo>
                    <a:pt x="4727" y="3882"/>
                  </a:lnTo>
                  <a:close/>
                  <a:moveTo>
                    <a:pt x="3120" y="2799"/>
                  </a:moveTo>
                  <a:lnTo>
                    <a:pt x="3703" y="3644"/>
                  </a:lnTo>
                  <a:lnTo>
                    <a:pt x="3334" y="4037"/>
                  </a:lnTo>
                  <a:cubicBezTo>
                    <a:pt x="3239" y="4120"/>
                    <a:pt x="3239" y="4227"/>
                    <a:pt x="3239" y="4299"/>
                  </a:cubicBezTo>
                  <a:lnTo>
                    <a:pt x="2703" y="4299"/>
                  </a:lnTo>
                  <a:cubicBezTo>
                    <a:pt x="2703" y="4227"/>
                    <a:pt x="2727" y="4120"/>
                    <a:pt x="2620" y="4037"/>
                  </a:cubicBezTo>
                  <a:lnTo>
                    <a:pt x="2227" y="3644"/>
                  </a:lnTo>
                  <a:lnTo>
                    <a:pt x="2810" y="2799"/>
                  </a:lnTo>
                  <a:lnTo>
                    <a:pt x="2810" y="3465"/>
                  </a:lnTo>
                  <a:cubicBezTo>
                    <a:pt x="2739" y="3477"/>
                    <a:pt x="2668" y="3537"/>
                    <a:pt x="2668" y="3632"/>
                  </a:cubicBezTo>
                  <a:cubicBezTo>
                    <a:pt x="2668" y="3715"/>
                    <a:pt x="2739" y="3799"/>
                    <a:pt x="2822" y="3799"/>
                  </a:cubicBezTo>
                  <a:lnTo>
                    <a:pt x="3096" y="3799"/>
                  </a:lnTo>
                  <a:cubicBezTo>
                    <a:pt x="3180" y="3799"/>
                    <a:pt x="3263" y="3715"/>
                    <a:pt x="3263" y="3632"/>
                  </a:cubicBezTo>
                  <a:cubicBezTo>
                    <a:pt x="3263" y="3561"/>
                    <a:pt x="3203" y="3477"/>
                    <a:pt x="3120" y="3465"/>
                  </a:cubicBezTo>
                  <a:lnTo>
                    <a:pt x="3120" y="2799"/>
                  </a:lnTo>
                  <a:close/>
                  <a:moveTo>
                    <a:pt x="2414" y="4793"/>
                  </a:moveTo>
                  <a:cubicBezTo>
                    <a:pt x="2416" y="4793"/>
                    <a:pt x="2422" y="4795"/>
                    <a:pt x="2429" y="4799"/>
                  </a:cubicBezTo>
                  <a:cubicBezTo>
                    <a:pt x="2414" y="4799"/>
                    <a:pt x="2408" y="4793"/>
                    <a:pt x="2414" y="4793"/>
                  </a:cubicBezTo>
                  <a:close/>
                  <a:moveTo>
                    <a:pt x="3549" y="4620"/>
                  </a:moveTo>
                  <a:cubicBezTo>
                    <a:pt x="3549" y="4620"/>
                    <a:pt x="3572" y="4620"/>
                    <a:pt x="3572" y="4644"/>
                  </a:cubicBezTo>
                  <a:lnTo>
                    <a:pt x="3572" y="4787"/>
                  </a:lnTo>
                  <a:cubicBezTo>
                    <a:pt x="3572" y="4787"/>
                    <a:pt x="3572" y="4799"/>
                    <a:pt x="3549" y="4799"/>
                  </a:cubicBezTo>
                  <a:lnTo>
                    <a:pt x="2429" y="4799"/>
                  </a:lnTo>
                  <a:lnTo>
                    <a:pt x="2406" y="4644"/>
                  </a:lnTo>
                  <a:cubicBezTo>
                    <a:pt x="2406" y="4644"/>
                    <a:pt x="2406" y="4620"/>
                    <a:pt x="2429" y="4620"/>
                  </a:cubicBezTo>
                  <a:close/>
                  <a:moveTo>
                    <a:pt x="3251" y="5120"/>
                  </a:moveTo>
                  <a:lnTo>
                    <a:pt x="3251" y="5537"/>
                  </a:lnTo>
                  <a:lnTo>
                    <a:pt x="2727" y="5537"/>
                  </a:lnTo>
                  <a:lnTo>
                    <a:pt x="2727" y="5120"/>
                  </a:lnTo>
                  <a:close/>
                  <a:moveTo>
                    <a:pt x="3394" y="5858"/>
                  </a:moveTo>
                  <a:cubicBezTo>
                    <a:pt x="3418" y="5858"/>
                    <a:pt x="3441" y="5882"/>
                    <a:pt x="3441" y="5882"/>
                  </a:cubicBezTo>
                  <a:cubicBezTo>
                    <a:pt x="3453" y="5894"/>
                    <a:pt x="3453" y="5906"/>
                    <a:pt x="3453" y="5918"/>
                  </a:cubicBezTo>
                  <a:lnTo>
                    <a:pt x="3418" y="6811"/>
                  </a:lnTo>
                  <a:lnTo>
                    <a:pt x="2525" y="6811"/>
                  </a:lnTo>
                  <a:lnTo>
                    <a:pt x="2501" y="5918"/>
                  </a:lnTo>
                  <a:cubicBezTo>
                    <a:pt x="2501" y="5894"/>
                    <a:pt x="2513" y="5882"/>
                    <a:pt x="2513" y="5882"/>
                  </a:cubicBezTo>
                  <a:cubicBezTo>
                    <a:pt x="2513" y="5882"/>
                    <a:pt x="2537" y="5858"/>
                    <a:pt x="2560" y="5858"/>
                  </a:cubicBezTo>
                  <a:close/>
                  <a:moveTo>
                    <a:pt x="4954" y="4501"/>
                  </a:moveTo>
                  <a:lnTo>
                    <a:pt x="4954" y="6835"/>
                  </a:lnTo>
                  <a:lnTo>
                    <a:pt x="4489" y="6835"/>
                  </a:lnTo>
                  <a:lnTo>
                    <a:pt x="4489" y="4501"/>
                  </a:lnTo>
                  <a:close/>
                  <a:moveTo>
                    <a:pt x="5739" y="4501"/>
                  </a:moveTo>
                  <a:lnTo>
                    <a:pt x="5739" y="6835"/>
                  </a:lnTo>
                  <a:lnTo>
                    <a:pt x="5287" y="6835"/>
                  </a:lnTo>
                  <a:lnTo>
                    <a:pt x="5287" y="4501"/>
                  </a:lnTo>
                  <a:close/>
                  <a:moveTo>
                    <a:pt x="9252" y="1120"/>
                  </a:moveTo>
                  <a:cubicBezTo>
                    <a:pt x="9287" y="1120"/>
                    <a:pt x="9311" y="1144"/>
                    <a:pt x="9311" y="1179"/>
                  </a:cubicBezTo>
                  <a:lnTo>
                    <a:pt x="9311" y="6835"/>
                  </a:lnTo>
                  <a:lnTo>
                    <a:pt x="8335" y="6835"/>
                  </a:lnTo>
                  <a:lnTo>
                    <a:pt x="8335" y="1822"/>
                  </a:lnTo>
                  <a:cubicBezTo>
                    <a:pt x="8335" y="1691"/>
                    <a:pt x="8216" y="1572"/>
                    <a:pt x="8085" y="1572"/>
                  </a:cubicBezTo>
                  <a:lnTo>
                    <a:pt x="6692" y="1572"/>
                  </a:lnTo>
                  <a:cubicBezTo>
                    <a:pt x="6561" y="1572"/>
                    <a:pt x="6442" y="1691"/>
                    <a:pt x="6442" y="1822"/>
                  </a:cubicBezTo>
                  <a:lnTo>
                    <a:pt x="6442" y="6835"/>
                  </a:lnTo>
                  <a:lnTo>
                    <a:pt x="6061" y="6835"/>
                  </a:lnTo>
                  <a:lnTo>
                    <a:pt x="6061" y="4346"/>
                  </a:lnTo>
                  <a:cubicBezTo>
                    <a:pt x="6061" y="4311"/>
                    <a:pt x="6061" y="4299"/>
                    <a:pt x="6037" y="4263"/>
                  </a:cubicBezTo>
                  <a:cubicBezTo>
                    <a:pt x="5690" y="3506"/>
                    <a:pt x="5585" y="3288"/>
                    <a:pt x="5581" y="3288"/>
                  </a:cubicBezTo>
                  <a:lnTo>
                    <a:pt x="5581" y="3288"/>
                  </a:lnTo>
                  <a:cubicBezTo>
                    <a:pt x="5580" y="3288"/>
                    <a:pt x="5582" y="3292"/>
                    <a:pt x="5585" y="3299"/>
                  </a:cubicBezTo>
                  <a:cubicBezTo>
                    <a:pt x="5525" y="3168"/>
                    <a:pt x="5430" y="3001"/>
                    <a:pt x="5323" y="2775"/>
                  </a:cubicBezTo>
                  <a:cubicBezTo>
                    <a:pt x="5281" y="2679"/>
                    <a:pt x="5192" y="2632"/>
                    <a:pt x="5102" y="2632"/>
                  </a:cubicBezTo>
                  <a:cubicBezTo>
                    <a:pt x="5013" y="2632"/>
                    <a:pt x="4924" y="2679"/>
                    <a:pt x="4882" y="2775"/>
                  </a:cubicBezTo>
                  <a:cubicBezTo>
                    <a:pt x="4811" y="2941"/>
                    <a:pt x="4239" y="4132"/>
                    <a:pt x="4180" y="4263"/>
                  </a:cubicBezTo>
                  <a:cubicBezTo>
                    <a:pt x="4168" y="4287"/>
                    <a:pt x="4168" y="4311"/>
                    <a:pt x="4168" y="4346"/>
                  </a:cubicBezTo>
                  <a:lnTo>
                    <a:pt x="4168" y="6835"/>
                  </a:lnTo>
                  <a:lnTo>
                    <a:pt x="3739" y="6835"/>
                  </a:lnTo>
                  <a:lnTo>
                    <a:pt x="3763" y="5954"/>
                  </a:lnTo>
                  <a:cubicBezTo>
                    <a:pt x="3763" y="5847"/>
                    <a:pt x="3739" y="5739"/>
                    <a:pt x="3656" y="5668"/>
                  </a:cubicBezTo>
                  <a:cubicBezTo>
                    <a:pt x="3632" y="5644"/>
                    <a:pt x="3596" y="5608"/>
                    <a:pt x="3561" y="5597"/>
                  </a:cubicBezTo>
                  <a:lnTo>
                    <a:pt x="3561" y="5132"/>
                  </a:lnTo>
                  <a:cubicBezTo>
                    <a:pt x="3739" y="5120"/>
                    <a:pt x="3870" y="4965"/>
                    <a:pt x="3870" y="4799"/>
                  </a:cubicBezTo>
                  <a:lnTo>
                    <a:pt x="3870" y="4656"/>
                  </a:lnTo>
                  <a:cubicBezTo>
                    <a:pt x="3870" y="4477"/>
                    <a:pt x="3739" y="4323"/>
                    <a:pt x="3561" y="4323"/>
                  </a:cubicBezTo>
                  <a:lnTo>
                    <a:pt x="3561" y="4263"/>
                  </a:lnTo>
                  <a:lnTo>
                    <a:pt x="3942" y="3870"/>
                  </a:lnTo>
                  <a:cubicBezTo>
                    <a:pt x="4049" y="3763"/>
                    <a:pt x="4061" y="3608"/>
                    <a:pt x="3977" y="3489"/>
                  </a:cubicBezTo>
                  <a:lnTo>
                    <a:pt x="3120" y="2263"/>
                  </a:lnTo>
                  <a:cubicBezTo>
                    <a:pt x="3078" y="2203"/>
                    <a:pt x="3013" y="2173"/>
                    <a:pt x="2949" y="2173"/>
                  </a:cubicBezTo>
                  <a:cubicBezTo>
                    <a:pt x="2885" y="2173"/>
                    <a:pt x="2822" y="2203"/>
                    <a:pt x="2787" y="2263"/>
                  </a:cubicBezTo>
                  <a:lnTo>
                    <a:pt x="1929" y="3489"/>
                  </a:lnTo>
                  <a:cubicBezTo>
                    <a:pt x="1858" y="3608"/>
                    <a:pt x="1870" y="3775"/>
                    <a:pt x="1965" y="3870"/>
                  </a:cubicBezTo>
                  <a:lnTo>
                    <a:pt x="2346" y="4263"/>
                  </a:lnTo>
                  <a:lnTo>
                    <a:pt x="2346" y="4323"/>
                  </a:lnTo>
                  <a:cubicBezTo>
                    <a:pt x="2168" y="4346"/>
                    <a:pt x="2037" y="4489"/>
                    <a:pt x="2037" y="4656"/>
                  </a:cubicBezTo>
                  <a:lnTo>
                    <a:pt x="2037" y="4799"/>
                  </a:lnTo>
                  <a:cubicBezTo>
                    <a:pt x="2037" y="4989"/>
                    <a:pt x="2168" y="5132"/>
                    <a:pt x="2346" y="5132"/>
                  </a:cubicBezTo>
                  <a:lnTo>
                    <a:pt x="2346" y="5597"/>
                  </a:lnTo>
                  <a:cubicBezTo>
                    <a:pt x="2310" y="5608"/>
                    <a:pt x="2275" y="5644"/>
                    <a:pt x="2251" y="5668"/>
                  </a:cubicBezTo>
                  <a:cubicBezTo>
                    <a:pt x="2168" y="5739"/>
                    <a:pt x="2132" y="5847"/>
                    <a:pt x="2144" y="5954"/>
                  </a:cubicBezTo>
                  <a:lnTo>
                    <a:pt x="2168" y="6835"/>
                  </a:lnTo>
                  <a:lnTo>
                    <a:pt x="1013" y="6835"/>
                  </a:lnTo>
                  <a:lnTo>
                    <a:pt x="1013" y="1179"/>
                  </a:lnTo>
                  <a:lnTo>
                    <a:pt x="1060" y="1179"/>
                  </a:lnTo>
                  <a:cubicBezTo>
                    <a:pt x="1060" y="1144"/>
                    <a:pt x="1084" y="1120"/>
                    <a:pt x="1120" y="1120"/>
                  </a:cubicBezTo>
                  <a:close/>
                  <a:moveTo>
                    <a:pt x="8002" y="1917"/>
                  </a:moveTo>
                  <a:lnTo>
                    <a:pt x="8002" y="2644"/>
                  </a:lnTo>
                  <a:lnTo>
                    <a:pt x="7752" y="2644"/>
                  </a:lnTo>
                  <a:cubicBezTo>
                    <a:pt x="7668" y="2644"/>
                    <a:pt x="7585" y="2715"/>
                    <a:pt x="7585" y="2810"/>
                  </a:cubicBezTo>
                  <a:cubicBezTo>
                    <a:pt x="7585" y="2870"/>
                    <a:pt x="7668" y="2941"/>
                    <a:pt x="7752" y="2941"/>
                  </a:cubicBezTo>
                  <a:lnTo>
                    <a:pt x="8002" y="2941"/>
                  </a:lnTo>
                  <a:lnTo>
                    <a:pt x="8002" y="3668"/>
                  </a:lnTo>
                  <a:lnTo>
                    <a:pt x="7752" y="3668"/>
                  </a:lnTo>
                  <a:cubicBezTo>
                    <a:pt x="7668" y="3668"/>
                    <a:pt x="7585" y="3751"/>
                    <a:pt x="7585" y="3834"/>
                  </a:cubicBezTo>
                  <a:cubicBezTo>
                    <a:pt x="7585" y="3930"/>
                    <a:pt x="7668" y="4001"/>
                    <a:pt x="7752" y="4001"/>
                  </a:cubicBezTo>
                  <a:lnTo>
                    <a:pt x="8002" y="4001"/>
                  </a:lnTo>
                  <a:lnTo>
                    <a:pt x="8002" y="4727"/>
                  </a:lnTo>
                  <a:lnTo>
                    <a:pt x="7752" y="4727"/>
                  </a:lnTo>
                  <a:cubicBezTo>
                    <a:pt x="7668" y="4727"/>
                    <a:pt x="7585" y="4799"/>
                    <a:pt x="7585" y="4894"/>
                  </a:cubicBezTo>
                  <a:cubicBezTo>
                    <a:pt x="7585" y="4989"/>
                    <a:pt x="7668" y="5061"/>
                    <a:pt x="7752" y="5061"/>
                  </a:cubicBezTo>
                  <a:lnTo>
                    <a:pt x="8002" y="5061"/>
                  </a:lnTo>
                  <a:lnTo>
                    <a:pt x="8002" y="5787"/>
                  </a:lnTo>
                  <a:lnTo>
                    <a:pt x="7752" y="5787"/>
                  </a:lnTo>
                  <a:cubicBezTo>
                    <a:pt x="7668" y="5787"/>
                    <a:pt x="7585" y="5858"/>
                    <a:pt x="7585" y="5954"/>
                  </a:cubicBezTo>
                  <a:cubicBezTo>
                    <a:pt x="7585" y="6037"/>
                    <a:pt x="7668" y="6120"/>
                    <a:pt x="7752" y="6120"/>
                  </a:cubicBezTo>
                  <a:lnTo>
                    <a:pt x="8002" y="6120"/>
                  </a:lnTo>
                  <a:lnTo>
                    <a:pt x="8002" y="6847"/>
                  </a:lnTo>
                  <a:lnTo>
                    <a:pt x="6775" y="6847"/>
                  </a:lnTo>
                  <a:lnTo>
                    <a:pt x="6775" y="1917"/>
                  </a:lnTo>
                  <a:close/>
                  <a:moveTo>
                    <a:pt x="10049" y="7144"/>
                  </a:moveTo>
                  <a:lnTo>
                    <a:pt x="10049" y="8347"/>
                  </a:lnTo>
                  <a:cubicBezTo>
                    <a:pt x="10049" y="8454"/>
                    <a:pt x="9954" y="8561"/>
                    <a:pt x="9835" y="8561"/>
                  </a:cubicBezTo>
                  <a:lnTo>
                    <a:pt x="501" y="8561"/>
                  </a:lnTo>
                  <a:cubicBezTo>
                    <a:pt x="393" y="8561"/>
                    <a:pt x="298" y="8466"/>
                    <a:pt x="298" y="8347"/>
                  </a:cubicBezTo>
                  <a:lnTo>
                    <a:pt x="298" y="7144"/>
                  </a:lnTo>
                  <a:close/>
                  <a:moveTo>
                    <a:pt x="5966" y="8871"/>
                  </a:moveTo>
                  <a:lnTo>
                    <a:pt x="5966" y="9787"/>
                  </a:lnTo>
                  <a:lnTo>
                    <a:pt x="4299" y="9787"/>
                  </a:lnTo>
                  <a:lnTo>
                    <a:pt x="4299" y="8871"/>
                  </a:lnTo>
                  <a:close/>
                  <a:moveTo>
                    <a:pt x="524" y="1"/>
                  </a:moveTo>
                  <a:cubicBezTo>
                    <a:pt x="239" y="1"/>
                    <a:pt x="1" y="239"/>
                    <a:pt x="1" y="524"/>
                  </a:cubicBezTo>
                  <a:lnTo>
                    <a:pt x="1" y="8347"/>
                  </a:lnTo>
                  <a:cubicBezTo>
                    <a:pt x="1" y="8633"/>
                    <a:pt x="239" y="8871"/>
                    <a:pt x="524" y="8871"/>
                  </a:cubicBezTo>
                  <a:lnTo>
                    <a:pt x="3989" y="8871"/>
                  </a:lnTo>
                  <a:lnTo>
                    <a:pt x="3989" y="9787"/>
                  </a:lnTo>
                  <a:lnTo>
                    <a:pt x="3465" y="9787"/>
                  </a:lnTo>
                  <a:cubicBezTo>
                    <a:pt x="3215" y="9787"/>
                    <a:pt x="3001" y="10002"/>
                    <a:pt x="3001" y="10252"/>
                  </a:cubicBezTo>
                  <a:lnTo>
                    <a:pt x="3001" y="10466"/>
                  </a:lnTo>
                  <a:cubicBezTo>
                    <a:pt x="3001" y="10716"/>
                    <a:pt x="3215" y="10919"/>
                    <a:pt x="3465" y="10919"/>
                  </a:cubicBezTo>
                  <a:lnTo>
                    <a:pt x="4739" y="10919"/>
                  </a:lnTo>
                  <a:cubicBezTo>
                    <a:pt x="4835" y="10919"/>
                    <a:pt x="4906" y="10847"/>
                    <a:pt x="4906" y="10764"/>
                  </a:cubicBezTo>
                  <a:cubicBezTo>
                    <a:pt x="4906" y="10669"/>
                    <a:pt x="4835" y="10597"/>
                    <a:pt x="4739" y="10597"/>
                  </a:cubicBezTo>
                  <a:lnTo>
                    <a:pt x="3465" y="10597"/>
                  </a:lnTo>
                  <a:cubicBezTo>
                    <a:pt x="3394" y="10597"/>
                    <a:pt x="3322" y="10538"/>
                    <a:pt x="3322" y="10442"/>
                  </a:cubicBezTo>
                  <a:lnTo>
                    <a:pt x="3322" y="10240"/>
                  </a:lnTo>
                  <a:cubicBezTo>
                    <a:pt x="3322" y="10168"/>
                    <a:pt x="3382" y="10085"/>
                    <a:pt x="3465" y="10085"/>
                  </a:cubicBezTo>
                  <a:lnTo>
                    <a:pt x="6811" y="10085"/>
                  </a:lnTo>
                  <a:cubicBezTo>
                    <a:pt x="6894" y="10085"/>
                    <a:pt x="6966" y="10145"/>
                    <a:pt x="6966" y="10240"/>
                  </a:cubicBezTo>
                  <a:lnTo>
                    <a:pt x="6966" y="10442"/>
                  </a:lnTo>
                  <a:cubicBezTo>
                    <a:pt x="6966" y="10526"/>
                    <a:pt x="6906" y="10597"/>
                    <a:pt x="6811" y="10597"/>
                  </a:cubicBezTo>
                  <a:lnTo>
                    <a:pt x="5489" y="10597"/>
                  </a:lnTo>
                  <a:cubicBezTo>
                    <a:pt x="5406" y="10597"/>
                    <a:pt x="5323" y="10669"/>
                    <a:pt x="5323" y="10764"/>
                  </a:cubicBezTo>
                  <a:cubicBezTo>
                    <a:pt x="5323" y="10847"/>
                    <a:pt x="5406" y="10919"/>
                    <a:pt x="5489" y="10919"/>
                  </a:cubicBezTo>
                  <a:lnTo>
                    <a:pt x="6811" y="10919"/>
                  </a:lnTo>
                  <a:cubicBezTo>
                    <a:pt x="7073" y="10919"/>
                    <a:pt x="7275" y="10716"/>
                    <a:pt x="7275" y="10466"/>
                  </a:cubicBezTo>
                  <a:lnTo>
                    <a:pt x="7275" y="10252"/>
                  </a:lnTo>
                  <a:cubicBezTo>
                    <a:pt x="7275" y="10002"/>
                    <a:pt x="7061" y="9787"/>
                    <a:pt x="6811" y="9787"/>
                  </a:cubicBezTo>
                  <a:lnTo>
                    <a:pt x="6299" y="9787"/>
                  </a:lnTo>
                  <a:lnTo>
                    <a:pt x="6299" y="8871"/>
                  </a:lnTo>
                  <a:lnTo>
                    <a:pt x="9847" y="8871"/>
                  </a:lnTo>
                  <a:cubicBezTo>
                    <a:pt x="10133" y="8871"/>
                    <a:pt x="10371" y="8633"/>
                    <a:pt x="10371" y="8347"/>
                  </a:cubicBezTo>
                  <a:lnTo>
                    <a:pt x="10371" y="4727"/>
                  </a:lnTo>
                  <a:cubicBezTo>
                    <a:pt x="10371" y="4644"/>
                    <a:pt x="10299" y="4573"/>
                    <a:pt x="10204" y="4573"/>
                  </a:cubicBezTo>
                  <a:cubicBezTo>
                    <a:pt x="10121" y="4573"/>
                    <a:pt x="10049" y="4644"/>
                    <a:pt x="10049" y="4727"/>
                  </a:cubicBezTo>
                  <a:lnTo>
                    <a:pt x="10049" y="6811"/>
                  </a:lnTo>
                  <a:lnTo>
                    <a:pt x="9633" y="6811"/>
                  </a:lnTo>
                  <a:lnTo>
                    <a:pt x="9633" y="1155"/>
                  </a:lnTo>
                  <a:cubicBezTo>
                    <a:pt x="9633" y="953"/>
                    <a:pt x="9466" y="786"/>
                    <a:pt x="9252" y="786"/>
                  </a:cubicBezTo>
                  <a:lnTo>
                    <a:pt x="1120" y="786"/>
                  </a:lnTo>
                  <a:cubicBezTo>
                    <a:pt x="905" y="786"/>
                    <a:pt x="739" y="953"/>
                    <a:pt x="739" y="1155"/>
                  </a:cubicBezTo>
                  <a:lnTo>
                    <a:pt x="739" y="6811"/>
                  </a:lnTo>
                  <a:lnTo>
                    <a:pt x="322" y="6811"/>
                  </a:lnTo>
                  <a:lnTo>
                    <a:pt x="322" y="524"/>
                  </a:lnTo>
                  <a:cubicBezTo>
                    <a:pt x="322" y="417"/>
                    <a:pt x="417" y="310"/>
                    <a:pt x="536" y="310"/>
                  </a:cubicBezTo>
                  <a:lnTo>
                    <a:pt x="9871" y="310"/>
                  </a:lnTo>
                  <a:cubicBezTo>
                    <a:pt x="9966" y="310"/>
                    <a:pt x="10073" y="405"/>
                    <a:pt x="10073" y="524"/>
                  </a:cubicBezTo>
                  <a:lnTo>
                    <a:pt x="10073" y="3977"/>
                  </a:lnTo>
                  <a:cubicBezTo>
                    <a:pt x="10049" y="4073"/>
                    <a:pt x="10121" y="4156"/>
                    <a:pt x="10204" y="4156"/>
                  </a:cubicBezTo>
                  <a:cubicBezTo>
                    <a:pt x="10299" y="4156"/>
                    <a:pt x="10371" y="4073"/>
                    <a:pt x="10371" y="3989"/>
                  </a:cubicBezTo>
                  <a:lnTo>
                    <a:pt x="10371" y="524"/>
                  </a:lnTo>
                  <a:cubicBezTo>
                    <a:pt x="10371" y="239"/>
                    <a:pt x="10133" y="1"/>
                    <a:pt x="98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Google Shape;13395;p63">
              <a:extLst>
                <a:ext uri="{FF2B5EF4-FFF2-40B4-BE49-F238E27FC236}">
                  <a16:creationId xmlns:a16="http://schemas.microsoft.com/office/drawing/2014/main" id="{277AC8AD-82E2-4A8D-8C9E-468722F2642E}"/>
                </a:ext>
              </a:extLst>
            </p:cNvPr>
            <p:cNvSpPr/>
            <p:nvPr/>
          </p:nvSpPr>
          <p:spPr>
            <a:xfrm>
              <a:off x="10891439" y="4022603"/>
              <a:ext cx="43" cy="43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Google Shape;13396;p63">
              <a:extLst>
                <a:ext uri="{FF2B5EF4-FFF2-40B4-BE49-F238E27FC236}">
                  <a16:creationId xmlns:a16="http://schemas.microsoft.com/office/drawing/2014/main" id="{8067D798-F6D7-47D2-A0C1-521BFCD95DBA}"/>
                </a:ext>
              </a:extLst>
            </p:cNvPr>
            <p:cNvSpPr/>
            <p:nvPr/>
          </p:nvSpPr>
          <p:spPr>
            <a:xfrm>
              <a:off x="10891439" y="4023620"/>
              <a:ext cx="43" cy="43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" name="Chart Google Shape;13565;p63">
            <a:extLst>
              <a:ext uri="{FF2B5EF4-FFF2-40B4-BE49-F238E27FC236}">
                <a16:creationId xmlns:a16="http://schemas.microsoft.com/office/drawing/2014/main" id="{E2DF9D2B-196C-4696-9737-E4433D2D28EF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1200150" y="2895853"/>
            <a:ext cx="465545" cy="363807"/>
            <a:chOff x="7455829" y="2653209"/>
            <a:chExt cx="555532" cy="434129"/>
          </a:xfrm>
          <a:solidFill>
            <a:srgbClr val="FFFFFF"/>
          </a:solidFill>
        </p:grpSpPr>
        <p:sp>
          <p:nvSpPr>
            <p:cNvPr id="52" name="Google Shape;13566;p63">
              <a:extLst>
                <a:ext uri="{FF2B5EF4-FFF2-40B4-BE49-F238E27FC236}">
                  <a16:creationId xmlns:a16="http://schemas.microsoft.com/office/drawing/2014/main" id="{AEED25FD-2A56-4DF5-8054-8E24E4CF519E}"/>
                </a:ext>
              </a:extLst>
            </p:cNvPr>
            <p:cNvSpPr/>
            <p:nvPr/>
          </p:nvSpPr>
          <p:spPr>
            <a:xfrm>
              <a:off x="7455829" y="2653209"/>
              <a:ext cx="555532" cy="434129"/>
            </a:xfrm>
            <a:custGeom>
              <a:avLst/>
              <a:gdLst/>
              <a:ahLst/>
              <a:cxnLst/>
              <a:rect l="l" t="t" r="r" b="b"/>
              <a:pathLst>
                <a:path w="11050" h="8633" extrusionOk="0">
                  <a:moveTo>
                    <a:pt x="10657" y="345"/>
                  </a:moveTo>
                  <a:lnTo>
                    <a:pt x="10681" y="714"/>
                  </a:lnTo>
                  <a:lnTo>
                    <a:pt x="9395" y="714"/>
                  </a:lnTo>
                  <a:cubicBezTo>
                    <a:pt x="9312" y="714"/>
                    <a:pt x="9216" y="786"/>
                    <a:pt x="9216" y="893"/>
                  </a:cubicBezTo>
                  <a:cubicBezTo>
                    <a:pt x="9216" y="1000"/>
                    <a:pt x="9288" y="1072"/>
                    <a:pt x="9395" y="1072"/>
                  </a:cubicBezTo>
                  <a:lnTo>
                    <a:pt x="10383" y="1072"/>
                  </a:lnTo>
                  <a:lnTo>
                    <a:pt x="10383" y="6191"/>
                  </a:lnTo>
                  <a:lnTo>
                    <a:pt x="4466" y="6191"/>
                  </a:lnTo>
                  <a:lnTo>
                    <a:pt x="4466" y="6025"/>
                  </a:lnTo>
                  <a:cubicBezTo>
                    <a:pt x="4466" y="5929"/>
                    <a:pt x="4394" y="5846"/>
                    <a:pt x="4287" y="5846"/>
                  </a:cubicBezTo>
                  <a:lnTo>
                    <a:pt x="4001" y="5846"/>
                  </a:lnTo>
                  <a:cubicBezTo>
                    <a:pt x="3978" y="5739"/>
                    <a:pt x="3930" y="5644"/>
                    <a:pt x="3871" y="5536"/>
                  </a:cubicBezTo>
                  <a:lnTo>
                    <a:pt x="4085" y="5322"/>
                  </a:lnTo>
                  <a:cubicBezTo>
                    <a:pt x="4156" y="5251"/>
                    <a:pt x="4156" y="5144"/>
                    <a:pt x="4085" y="5072"/>
                  </a:cubicBezTo>
                  <a:lnTo>
                    <a:pt x="3549" y="4536"/>
                  </a:lnTo>
                  <a:cubicBezTo>
                    <a:pt x="3513" y="4512"/>
                    <a:pt x="3478" y="4489"/>
                    <a:pt x="3430" y="4489"/>
                  </a:cubicBezTo>
                  <a:cubicBezTo>
                    <a:pt x="3382" y="4489"/>
                    <a:pt x="3335" y="4512"/>
                    <a:pt x="3311" y="4536"/>
                  </a:cubicBezTo>
                  <a:lnTo>
                    <a:pt x="3097" y="4739"/>
                  </a:lnTo>
                  <a:cubicBezTo>
                    <a:pt x="2989" y="4679"/>
                    <a:pt x="2894" y="4643"/>
                    <a:pt x="2787" y="4608"/>
                  </a:cubicBezTo>
                  <a:lnTo>
                    <a:pt x="2787" y="4334"/>
                  </a:lnTo>
                  <a:cubicBezTo>
                    <a:pt x="2787" y="4239"/>
                    <a:pt x="2716" y="4155"/>
                    <a:pt x="2608" y="4155"/>
                  </a:cubicBezTo>
                  <a:lnTo>
                    <a:pt x="2180" y="4155"/>
                  </a:lnTo>
                  <a:lnTo>
                    <a:pt x="2180" y="1060"/>
                  </a:lnTo>
                  <a:lnTo>
                    <a:pt x="8788" y="1060"/>
                  </a:lnTo>
                  <a:cubicBezTo>
                    <a:pt x="8871" y="1060"/>
                    <a:pt x="8966" y="976"/>
                    <a:pt x="8966" y="881"/>
                  </a:cubicBezTo>
                  <a:cubicBezTo>
                    <a:pt x="8966" y="786"/>
                    <a:pt x="8895" y="702"/>
                    <a:pt x="8788" y="702"/>
                  </a:cubicBezTo>
                  <a:lnTo>
                    <a:pt x="1894" y="702"/>
                  </a:lnTo>
                  <a:lnTo>
                    <a:pt x="1894" y="345"/>
                  </a:lnTo>
                  <a:close/>
                  <a:moveTo>
                    <a:pt x="10681" y="6537"/>
                  </a:moveTo>
                  <a:lnTo>
                    <a:pt x="10681" y="6870"/>
                  </a:lnTo>
                  <a:lnTo>
                    <a:pt x="4430" y="6870"/>
                  </a:lnTo>
                  <a:cubicBezTo>
                    <a:pt x="4454" y="6846"/>
                    <a:pt x="4466" y="6798"/>
                    <a:pt x="4466" y="6751"/>
                  </a:cubicBezTo>
                  <a:lnTo>
                    <a:pt x="4466" y="6560"/>
                  </a:lnTo>
                  <a:lnTo>
                    <a:pt x="10562" y="6560"/>
                  </a:lnTo>
                  <a:cubicBezTo>
                    <a:pt x="10598" y="6560"/>
                    <a:pt x="10633" y="6548"/>
                    <a:pt x="10657" y="6537"/>
                  </a:cubicBezTo>
                  <a:close/>
                  <a:moveTo>
                    <a:pt x="2477" y="4524"/>
                  </a:moveTo>
                  <a:lnTo>
                    <a:pt x="2477" y="4763"/>
                  </a:lnTo>
                  <a:cubicBezTo>
                    <a:pt x="2477" y="4834"/>
                    <a:pt x="2537" y="4905"/>
                    <a:pt x="2608" y="4929"/>
                  </a:cubicBezTo>
                  <a:cubicBezTo>
                    <a:pt x="2775" y="4965"/>
                    <a:pt x="2942" y="5024"/>
                    <a:pt x="3073" y="5120"/>
                  </a:cubicBezTo>
                  <a:cubicBezTo>
                    <a:pt x="3099" y="5137"/>
                    <a:pt x="3128" y="5145"/>
                    <a:pt x="3157" y="5145"/>
                  </a:cubicBezTo>
                  <a:cubicBezTo>
                    <a:pt x="3206" y="5145"/>
                    <a:pt x="3253" y="5122"/>
                    <a:pt x="3275" y="5084"/>
                  </a:cubicBezTo>
                  <a:lnTo>
                    <a:pt x="3454" y="4905"/>
                  </a:lnTo>
                  <a:lnTo>
                    <a:pt x="3740" y="5191"/>
                  </a:lnTo>
                  <a:lnTo>
                    <a:pt x="3561" y="5370"/>
                  </a:lnTo>
                  <a:cubicBezTo>
                    <a:pt x="3501" y="5429"/>
                    <a:pt x="3490" y="5525"/>
                    <a:pt x="3537" y="5584"/>
                  </a:cubicBezTo>
                  <a:cubicBezTo>
                    <a:pt x="3620" y="5727"/>
                    <a:pt x="3680" y="5882"/>
                    <a:pt x="3728" y="6036"/>
                  </a:cubicBezTo>
                  <a:cubicBezTo>
                    <a:pt x="3740" y="6120"/>
                    <a:pt x="3811" y="6179"/>
                    <a:pt x="3894" y="6179"/>
                  </a:cubicBezTo>
                  <a:lnTo>
                    <a:pt x="4132" y="6179"/>
                  </a:lnTo>
                  <a:lnTo>
                    <a:pt x="4132" y="6572"/>
                  </a:lnTo>
                  <a:lnTo>
                    <a:pt x="3894" y="6572"/>
                  </a:lnTo>
                  <a:cubicBezTo>
                    <a:pt x="3811" y="6572"/>
                    <a:pt x="3740" y="6632"/>
                    <a:pt x="3728" y="6715"/>
                  </a:cubicBezTo>
                  <a:cubicBezTo>
                    <a:pt x="3680" y="6870"/>
                    <a:pt x="3620" y="7037"/>
                    <a:pt x="3537" y="7168"/>
                  </a:cubicBezTo>
                  <a:cubicBezTo>
                    <a:pt x="3490" y="7251"/>
                    <a:pt x="3501" y="7334"/>
                    <a:pt x="3561" y="7382"/>
                  </a:cubicBezTo>
                  <a:lnTo>
                    <a:pt x="3740" y="7560"/>
                  </a:lnTo>
                  <a:lnTo>
                    <a:pt x="3454" y="7834"/>
                  </a:lnTo>
                  <a:lnTo>
                    <a:pt x="3275" y="7656"/>
                  </a:lnTo>
                  <a:cubicBezTo>
                    <a:pt x="3238" y="7626"/>
                    <a:pt x="3193" y="7606"/>
                    <a:pt x="3149" y="7606"/>
                  </a:cubicBezTo>
                  <a:cubicBezTo>
                    <a:pt x="3122" y="7606"/>
                    <a:pt x="3096" y="7614"/>
                    <a:pt x="3073" y="7632"/>
                  </a:cubicBezTo>
                  <a:cubicBezTo>
                    <a:pt x="2918" y="7727"/>
                    <a:pt x="2775" y="7787"/>
                    <a:pt x="2608" y="7822"/>
                  </a:cubicBezTo>
                  <a:cubicBezTo>
                    <a:pt x="2537" y="7846"/>
                    <a:pt x="2477" y="7918"/>
                    <a:pt x="2477" y="7989"/>
                  </a:cubicBezTo>
                  <a:lnTo>
                    <a:pt x="2477" y="8227"/>
                  </a:lnTo>
                  <a:lnTo>
                    <a:pt x="2073" y="8227"/>
                  </a:lnTo>
                  <a:lnTo>
                    <a:pt x="2073" y="7989"/>
                  </a:lnTo>
                  <a:cubicBezTo>
                    <a:pt x="2073" y="7918"/>
                    <a:pt x="2013" y="7846"/>
                    <a:pt x="1942" y="7822"/>
                  </a:cubicBezTo>
                  <a:cubicBezTo>
                    <a:pt x="1775" y="7787"/>
                    <a:pt x="1608" y="7727"/>
                    <a:pt x="1477" y="7632"/>
                  </a:cubicBezTo>
                  <a:cubicBezTo>
                    <a:pt x="1450" y="7614"/>
                    <a:pt x="1419" y="7606"/>
                    <a:pt x="1390" y="7606"/>
                  </a:cubicBezTo>
                  <a:cubicBezTo>
                    <a:pt x="1342" y="7606"/>
                    <a:pt x="1297" y="7626"/>
                    <a:pt x="1275" y="7656"/>
                  </a:cubicBezTo>
                  <a:lnTo>
                    <a:pt x="1096" y="7834"/>
                  </a:lnTo>
                  <a:lnTo>
                    <a:pt x="811" y="7560"/>
                  </a:lnTo>
                  <a:lnTo>
                    <a:pt x="989" y="7382"/>
                  </a:lnTo>
                  <a:cubicBezTo>
                    <a:pt x="1049" y="7322"/>
                    <a:pt x="1061" y="7227"/>
                    <a:pt x="1013" y="7168"/>
                  </a:cubicBezTo>
                  <a:cubicBezTo>
                    <a:pt x="930" y="7025"/>
                    <a:pt x="870" y="6870"/>
                    <a:pt x="823" y="6715"/>
                  </a:cubicBezTo>
                  <a:cubicBezTo>
                    <a:pt x="811" y="6632"/>
                    <a:pt x="739" y="6572"/>
                    <a:pt x="656" y="6572"/>
                  </a:cubicBezTo>
                  <a:lnTo>
                    <a:pt x="418" y="6572"/>
                  </a:lnTo>
                  <a:lnTo>
                    <a:pt x="418" y="6179"/>
                  </a:lnTo>
                  <a:lnTo>
                    <a:pt x="656" y="6179"/>
                  </a:lnTo>
                  <a:cubicBezTo>
                    <a:pt x="739" y="6179"/>
                    <a:pt x="811" y="6120"/>
                    <a:pt x="823" y="6036"/>
                  </a:cubicBezTo>
                  <a:cubicBezTo>
                    <a:pt x="870" y="5882"/>
                    <a:pt x="930" y="5715"/>
                    <a:pt x="1013" y="5584"/>
                  </a:cubicBezTo>
                  <a:cubicBezTo>
                    <a:pt x="1061" y="5501"/>
                    <a:pt x="1049" y="5417"/>
                    <a:pt x="989" y="5370"/>
                  </a:cubicBezTo>
                  <a:lnTo>
                    <a:pt x="811" y="5191"/>
                  </a:lnTo>
                  <a:lnTo>
                    <a:pt x="1096" y="4905"/>
                  </a:lnTo>
                  <a:lnTo>
                    <a:pt x="1275" y="5084"/>
                  </a:lnTo>
                  <a:cubicBezTo>
                    <a:pt x="1313" y="5122"/>
                    <a:pt x="1360" y="5145"/>
                    <a:pt x="1405" y="5145"/>
                  </a:cubicBezTo>
                  <a:cubicBezTo>
                    <a:pt x="1430" y="5145"/>
                    <a:pt x="1456" y="5137"/>
                    <a:pt x="1477" y="5120"/>
                  </a:cubicBezTo>
                  <a:cubicBezTo>
                    <a:pt x="1632" y="5024"/>
                    <a:pt x="1775" y="4965"/>
                    <a:pt x="1942" y="4929"/>
                  </a:cubicBezTo>
                  <a:cubicBezTo>
                    <a:pt x="2013" y="4905"/>
                    <a:pt x="2073" y="4834"/>
                    <a:pt x="2073" y="4763"/>
                  </a:cubicBezTo>
                  <a:lnTo>
                    <a:pt x="2073" y="4524"/>
                  </a:lnTo>
                  <a:close/>
                  <a:moveTo>
                    <a:pt x="1715" y="0"/>
                  </a:moveTo>
                  <a:cubicBezTo>
                    <a:pt x="1632" y="0"/>
                    <a:pt x="1537" y="71"/>
                    <a:pt x="1537" y="179"/>
                  </a:cubicBezTo>
                  <a:lnTo>
                    <a:pt x="1537" y="881"/>
                  </a:lnTo>
                  <a:cubicBezTo>
                    <a:pt x="1537" y="964"/>
                    <a:pt x="1608" y="1060"/>
                    <a:pt x="1715" y="1060"/>
                  </a:cubicBezTo>
                  <a:lnTo>
                    <a:pt x="1835" y="1060"/>
                  </a:lnTo>
                  <a:lnTo>
                    <a:pt x="1835" y="4155"/>
                  </a:lnTo>
                  <a:cubicBezTo>
                    <a:pt x="1751" y="4167"/>
                    <a:pt x="1692" y="4239"/>
                    <a:pt x="1692" y="4310"/>
                  </a:cubicBezTo>
                  <a:lnTo>
                    <a:pt x="1692" y="4596"/>
                  </a:lnTo>
                  <a:cubicBezTo>
                    <a:pt x="1585" y="4632"/>
                    <a:pt x="1477" y="4667"/>
                    <a:pt x="1370" y="4727"/>
                  </a:cubicBezTo>
                  <a:lnTo>
                    <a:pt x="1168" y="4524"/>
                  </a:lnTo>
                  <a:cubicBezTo>
                    <a:pt x="1132" y="4489"/>
                    <a:pt x="1096" y="4477"/>
                    <a:pt x="1049" y="4477"/>
                  </a:cubicBezTo>
                  <a:cubicBezTo>
                    <a:pt x="1001" y="4477"/>
                    <a:pt x="953" y="4489"/>
                    <a:pt x="930" y="4524"/>
                  </a:cubicBezTo>
                  <a:lnTo>
                    <a:pt x="394" y="5060"/>
                  </a:lnTo>
                  <a:cubicBezTo>
                    <a:pt x="322" y="5132"/>
                    <a:pt x="322" y="5239"/>
                    <a:pt x="394" y="5310"/>
                  </a:cubicBezTo>
                  <a:lnTo>
                    <a:pt x="596" y="5525"/>
                  </a:lnTo>
                  <a:cubicBezTo>
                    <a:pt x="537" y="5620"/>
                    <a:pt x="501" y="5727"/>
                    <a:pt x="465" y="5834"/>
                  </a:cubicBezTo>
                  <a:lnTo>
                    <a:pt x="180" y="5834"/>
                  </a:lnTo>
                  <a:cubicBezTo>
                    <a:pt x="96" y="5834"/>
                    <a:pt x="1" y="5906"/>
                    <a:pt x="1" y="6013"/>
                  </a:cubicBezTo>
                  <a:lnTo>
                    <a:pt x="1" y="6751"/>
                  </a:lnTo>
                  <a:cubicBezTo>
                    <a:pt x="1" y="6846"/>
                    <a:pt x="84" y="6929"/>
                    <a:pt x="180" y="6929"/>
                  </a:cubicBezTo>
                  <a:lnTo>
                    <a:pt x="465" y="6929"/>
                  </a:lnTo>
                  <a:cubicBezTo>
                    <a:pt x="501" y="7037"/>
                    <a:pt x="537" y="7144"/>
                    <a:pt x="596" y="7251"/>
                  </a:cubicBezTo>
                  <a:lnTo>
                    <a:pt x="394" y="7453"/>
                  </a:lnTo>
                  <a:cubicBezTo>
                    <a:pt x="322" y="7525"/>
                    <a:pt x="322" y="7632"/>
                    <a:pt x="394" y="7703"/>
                  </a:cubicBezTo>
                  <a:lnTo>
                    <a:pt x="930" y="8239"/>
                  </a:lnTo>
                  <a:cubicBezTo>
                    <a:pt x="965" y="8281"/>
                    <a:pt x="1010" y="8302"/>
                    <a:pt x="1055" y="8302"/>
                  </a:cubicBezTo>
                  <a:cubicBezTo>
                    <a:pt x="1099" y="8302"/>
                    <a:pt x="1144" y="8281"/>
                    <a:pt x="1180" y="8239"/>
                  </a:cubicBezTo>
                  <a:lnTo>
                    <a:pt x="1394" y="8037"/>
                  </a:lnTo>
                  <a:cubicBezTo>
                    <a:pt x="1489" y="8096"/>
                    <a:pt x="1596" y="8144"/>
                    <a:pt x="1704" y="8168"/>
                  </a:cubicBezTo>
                  <a:lnTo>
                    <a:pt x="1704" y="8453"/>
                  </a:lnTo>
                  <a:cubicBezTo>
                    <a:pt x="1704" y="8537"/>
                    <a:pt x="1775" y="8632"/>
                    <a:pt x="1882" y="8632"/>
                  </a:cubicBezTo>
                  <a:lnTo>
                    <a:pt x="2620" y="8632"/>
                  </a:lnTo>
                  <a:cubicBezTo>
                    <a:pt x="2716" y="8632"/>
                    <a:pt x="2799" y="8549"/>
                    <a:pt x="2799" y="8453"/>
                  </a:cubicBezTo>
                  <a:lnTo>
                    <a:pt x="2799" y="8168"/>
                  </a:lnTo>
                  <a:cubicBezTo>
                    <a:pt x="2906" y="8144"/>
                    <a:pt x="3013" y="8096"/>
                    <a:pt x="3120" y="8037"/>
                  </a:cubicBezTo>
                  <a:lnTo>
                    <a:pt x="3323" y="8239"/>
                  </a:lnTo>
                  <a:cubicBezTo>
                    <a:pt x="3359" y="8281"/>
                    <a:pt x="3403" y="8302"/>
                    <a:pt x="3448" y="8302"/>
                  </a:cubicBezTo>
                  <a:cubicBezTo>
                    <a:pt x="3492" y="8302"/>
                    <a:pt x="3537" y="8281"/>
                    <a:pt x="3573" y="8239"/>
                  </a:cubicBezTo>
                  <a:lnTo>
                    <a:pt x="4109" y="7703"/>
                  </a:lnTo>
                  <a:cubicBezTo>
                    <a:pt x="4192" y="7632"/>
                    <a:pt x="4192" y="7525"/>
                    <a:pt x="4109" y="7453"/>
                  </a:cubicBezTo>
                  <a:lnTo>
                    <a:pt x="3906" y="7251"/>
                  </a:lnTo>
                  <a:cubicBezTo>
                    <a:pt x="3906" y="7227"/>
                    <a:pt x="3918" y="7227"/>
                    <a:pt x="3918" y="7215"/>
                  </a:cubicBezTo>
                  <a:lnTo>
                    <a:pt x="10871" y="7215"/>
                  </a:lnTo>
                  <a:cubicBezTo>
                    <a:pt x="10955" y="7215"/>
                    <a:pt x="11050" y="7144"/>
                    <a:pt x="11050" y="7037"/>
                  </a:cubicBezTo>
                  <a:lnTo>
                    <a:pt x="11050" y="6358"/>
                  </a:lnTo>
                  <a:cubicBezTo>
                    <a:pt x="11050" y="6263"/>
                    <a:pt x="10979" y="6179"/>
                    <a:pt x="10871" y="6179"/>
                  </a:cubicBezTo>
                  <a:lnTo>
                    <a:pt x="10752" y="6179"/>
                  </a:lnTo>
                  <a:lnTo>
                    <a:pt x="10752" y="1060"/>
                  </a:lnTo>
                  <a:lnTo>
                    <a:pt x="10836" y="1060"/>
                  </a:lnTo>
                  <a:cubicBezTo>
                    <a:pt x="10931" y="1060"/>
                    <a:pt x="11014" y="976"/>
                    <a:pt x="11014" y="881"/>
                  </a:cubicBezTo>
                  <a:lnTo>
                    <a:pt x="11014" y="179"/>
                  </a:lnTo>
                  <a:cubicBezTo>
                    <a:pt x="11014" y="83"/>
                    <a:pt x="10943" y="0"/>
                    <a:pt x="1083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Google Shape;13567;p63">
              <a:extLst>
                <a:ext uri="{FF2B5EF4-FFF2-40B4-BE49-F238E27FC236}">
                  <a16:creationId xmlns:a16="http://schemas.microsoft.com/office/drawing/2014/main" id="{1614E89B-EF1E-4383-A0EC-7637A09E0CCC}"/>
                </a:ext>
              </a:extLst>
            </p:cNvPr>
            <p:cNvSpPr/>
            <p:nvPr/>
          </p:nvSpPr>
          <p:spPr>
            <a:xfrm>
              <a:off x="7705441" y="2829214"/>
              <a:ext cx="52738" cy="111385"/>
            </a:xfrm>
            <a:custGeom>
              <a:avLst/>
              <a:gdLst/>
              <a:ahLst/>
              <a:cxnLst/>
              <a:rect l="l" t="t" r="r" b="b"/>
              <a:pathLst>
                <a:path w="1049" h="2215" extrusionOk="0">
                  <a:moveTo>
                    <a:pt x="691" y="334"/>
                  </a:moveTo>
                  <a:lnTo>
                    <a:pt x="691" y="1858"/>
                  </a:lnTo>
                  <a:lnTo>
                    <a:pt x="334" y="1858"/>
                  </a:lnTo>
                  <a:lnTo>
                    <a:pt x="334" y="334"/>
                  </a:lnTo>
                  <a:close/>
                  <a:moveTo>
                    <a:pt x="179" y="0"/>
                  </a:moveTo>
                  <a:cubicBezTo>
                    <a:pt x="84" y="0"/>
                    <a:pt x="1" y="72"/>
                    <a:pt x="1" y="179"/>
                  </a:cubicBezTo>
                  <a:lnTo>
                    <a:pt x="1" y="2036"/>
                  </a:lnTo>
                  <a:cubicBezTo>
                    <a:pt x="1" y="2120"/>
                    <a:pt x="72" y="2215"/>
                    <a:pt x="179" y="2215"/>
                  </a:cubicBezTo>
                  <a:lnTo>
                    <a:pt x="870" y="2215"/>
                  </a:lnTo>
                  <a:cubicBezTo>
                    <a:pt x="965" y="2215"/>
                    <a:pt x="1049" y="2144"/>
                    <a:pt x="1049" y="2036"/>
                  </a:cubicBezTo>
                  <a:lnTo>
                    <a:pt x="1049" y="179"/>
                  </a:lnTo>
                  <a:cubicBezTo>
                    <a:pt x="1049" y="72"/>
                    <a:pt x="965" y="0"/>
                    <a:pt x="8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Google Shape;13568;p63">
              <a:extLst>
                <a:ext uri="{FF2B5EF4-FFF2-40B4-BE49-F238E27FC236}">
                  <a16:creationId xmlns:a16="http://schemas.microsoft.com/office/drawing/2014/main" id="{88C32AA0-0BF3-449E-BC36-A9C87142D4FD}"/>
                </a:ext>
              </a:extLst>
            </p:cNvPr>
            <p:cNvSpPr/>
            <p:nvPr/>
          </p:nvSpPr>
          <p:spPr>
            <a:xfrm>
              <a:off x="7767730" y="2786119"/>
              <a:ext cx="53291" cy="154483"/>
            </a:xfrm>
            <a:custGeom>
              <a:avLst/>
              <a:gdLst/>
              <a:ahLst/>
              <a:cxnLst/>
              <a:rect l="l" t="t" r="r" b="b"/>
              <a:pathLst>
                <a:path w="1060" h="3072" extrusionOk="0">
                  <a:moveTo>
                    <a:pt x="703" y="345"/>
                  </a:moveTo>
                  <a:lnTo>
                    <a:pt x="703" y="2715"/>
                  </a:lnTo>
                  <a:lnTo>
                    <a:pt x="345" y="2715"/>
                  </a:lnTo>
                  <a:lnTo>
                    <a:pt x="345" y="345"/>
                  </a:lnTo>
                  <a:close/>
                  <a:moveTo>
                    <a:pt x="179" y="0"/>
                  </a:moveTo>
                  <a:cubicBezTo>
                    <a:pt x="95" y="0"/>
                    <a:pt x="0" y="84"/>
                    <a:pt x="0" y="179"/>
                  </a:cubicBezTo>
                  <a:lnTo>
                    <a:pt x="0" y="2893"/>
                  </a:lnTo>
                  <a:cubicBezTo>
                    <a:pt x="0" y="2977"/>
                    <a:pt x="83" y="3072"/>
                    <a:pt x="179" y="3072"/>
                  </a:cubicBezTo>
                  <a:lnTo>
                    <a:pt x="881" y="3072"/>
                  </a:lnTo>
                  <a:cubicBezTo>
                    <a:pt x="976" y="3072"/>
                    <a:pt x="1060" y="3001"/>
                    <a:pt x="1060" y="2893"/>
                  </a:cubicBezTo>
                  <a:lnTo>
                    <a:pt x="1060" y="179"/>
                  </a:lnTo>
                  <a:cubicBezTo>
                    <a:pt x="1048" y="84"/>
                    <a:pt x="976" y="0"/>
                    <a:pt x="8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Google Shape;13569;p63">
              <a:extLst>
                <a:ext uri="{FF2B5EF4-FFF2-40B4-BE49-F238E27FC236}">
                  <a16:creationId xmlns:a16="http://schemas.microsoft.com/office/drawing/2014/main" id="{A07A4EE9-2628-4D47-9583-25517D2FF28B}"/>
                </a:ext>
              </a:extLst>
            </p:cNvPr>
            <p:cNvSpPr/>
            <p:nvPr/>
          </p:nvSpPr>
          <p:spPr>
            <a:xfrm>
              <a:off x="7830574" y="2808245"/>
              <a:ext cx="53291" cy="131802"/>
            </a:xfrm>
            <a:custGeom>
              <a:avLst/>
              <a:gdLst/>
              <a:ahLst/>
              <a:cxnLst/>
              <a:rect l="l" t="t" r="r" b="b"/>
              <a:pathLst>
                <a:path w="1060" h="2621" extrusionOk="0">
                  <a:moveTo>
                    <a:pt x="703" y="358"/>
                  </a:moveTo>
                  <a:lnTo>
                    <a:pt x="703" y="2275"/>
                  </a:lnTo>
                  <a:lnTo>
                    <a:pt x="346" y="2275"/>
                  </a:lnTo>
                  <a:lnTo>
                    <a:pt x="346" y="358"/>
                  </a:lnTo>
                  <a:close/>
                  <a:moveTo>
                    <a:pt x="191" y="1"/>
                  </a:moveTo>
                  <a:cubicBezTo>
                    <a:pt x="96" y="1"/>
                    <a:pt x="0" y="72"/>
                    <a:pt x="0" y="179"/>
                  </a:cubicBezTo>
                  <a:lnTo>
                    <a:pt x="0" y="2442"/>
                  </a:lnTo>
                  <a:cubicBezTo>
                    <a:pt x="0" y="2525"/>
                    <a:pt x="84" y="2620"/>
                    <a:pt x="191" y="2620"/>
                  </a:cubicBezTo>
                  <a:lnTo>
                    <a:pt x="881" y="2620"/>
                  </a:lnTo>
                  <a:cubicBezTo>
                    <a:pt x="977" y="2620"/>
                    <a:pt x="1060" y="2537"/>
                    <a:pt x="1060" y="2442"/>
                  </a:cubicBezTo>
                  <a:lnTo>
                    <a:pt x="1060" y="179"/>
                  </a:lnTo>
                  <a:cubicBezTo>
                    <a:pt x="1048" y="84"/>
                    <a:pt x="977" y="1"/>
                    <a:pt x="8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Google Shape;13570;p63">
              <a:extLst>
                <a:ext uri="{FF2B5EF4-FFF2-40B4-BE49-F238E27FC236}">
                  <a16:creationId xmlns:a16="http://schemas.microsoft.com/office/drawing/2014/main" id="{25C6FAE8-EC56-45F5-82E7-A9920CAB40A1}"/>
                </a:ext>
              </a:extLst>
            </p:cNvPr>
            <p:cNvSpPr/>
            <p:nvPr/>
          </p:nvSpPr>
          <p:spPr>
            <a:xfrm>
              <a:off x="7894020" y="2735228"/>
              <a:ext cx="52738" cy="204821"/>
            </a:xfrm>
            <a:custGeom>
              <a:avLst/>
              <a:gdLst/>
              <a:ahLst/>
              <a:cxnLst/>
              <a:rect l="l" t="t" r="r" b="b"/>
              <a:pathLst>
                <a:path w="1049" h="4073" extrusionOk="0">
                  <a:moveTo>
                    <a:pt x="691" y="357"/>
                  </a:moveTo>
                  <a:lnTo>
                    <a:pt x="691" y="3727"/>
                  </a:lnTo>
                  <a:lnTo>
                    <a:pt x="334" y="3727"/>
                  </a:lnTo>
                  <a:lnTo>
                    <a:pt x="334" y="357"/>
                  </a:lnTo>
                  <a:close/>
                  <a:moveTo>
                    <a:pt x="179" y="0"/>
                  </a:moveTo>
                  <a:cubicBezTo>
                    <a:pt x="72" y="24"/>
                    <a:pt x="0" y="95"/>
                    <a:pt x="0" y="179"/>
                  </a:cubicBezTo>
                  <a:lnTo>
                    <a:pt x="0" y="3894"/>
                  </a:lnTo>
                  <a:cubicBezTo>
                    <a:pt x="0" y="3977"/>
                    <a:pt x="72" y="4072"/>
                    <a:pt x="179" y="4072"/>
                  </a:cubicBezTo>
                  <a:lnTo>
                    <a:pt x="870" y="4072"/>
                  </a:lnTo>
                  <a:cubicBezTo>
                    <a:pt x="965" y="4072"/>
                    <a:pt x="1048" y="3989"/>
                    <a:pt x="1048" y="3894"/>
                  </a:cubicBezTo>
                  <a:lnTo>
                    <a:pt x="1048" y="179"/>
                  </a:lnTo>
                  <a:cubicBezTo>
                    <a:pt x="1048" y="95"/>
                    <a:pt x="977" y="0"/>
                    <a:pt x="87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Google Shape;13571;p63">
              <a:extLst>
                <a:ext uri="{FF2B5EF4-FFF2-40B4-BE49-F238E27FC236}">
                  <a16:creationId xmlns:a16="http://schemas.microsoft.com/office/drawing/2014/main" id="{BCCA0480-1680-445D-BBCE-064A8DF65E20}"/>
                </a:ext>
              </a:extLst>
            </p:cNvPr>
            <p:cNvSpPr/>
            <p:nvPr/>
          </p:nvSpPr>
          <p:spPr>
            <a:xfrm>
              <a:off x="7592926" y="2757957"/>
              <a:ext cx="64703" cy="18003"/>
            </a:xfrm>
            <a:custGeom>
              <a:avLst/>
              <a:gdLst/>
              <a:ahLst/>
              <a:cxnLst/>
              <a:rect l="l" t="t" r="r" b="b"/>
              <a:pathLst>
                <a:path w="1287" h="358" extrusionOk="0">
                  <a:moveTo>
                    <a:pt x="179" y="1"/>
                  </a:moveTo>
                  <a:cubicBezTo>
                    <a:pt x="96" y="1"/>
                    <a:pt x="1" y="72"/>
                    <a:pt x="1" y="179"/>
                  </a:cubicBezTo>
                  <a:cubicBezTo>
                    <a:pt x="12" y="263"/>
                    <a:pt x="96" y="358"/>
                    <a:pt x="179" y="358"/>
                  </a:cubicBezTo>
                  <a:lnTo>
                    <a:pt x="1108" y="358"/>
                  </a:lnTo>
                  <a:cubicBezTo>
                    <a:pt x="1191" y="358"/>
                    <a:pt x="1286" y="286"/>
                    <a:pt x="1286" y="179"/>
                  </a:cubicBezTo>
                  <a:cubicBezTo>
                    <a:pt x="1286" y="72"/>
                    <a:pt x="1203" y="1"/>
                    <a:pt x="11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Google Shape;13572;p63">
              <a:extLst>
                <a:ext uri="{FF2B5EF4-FFF2-40B4-BE49-F238E27FC236}">
                  <a16:creationId xmlns:a16="http://schemas.microsoft.com/office/drawing/2014/main" id="{076F845D-9C45-4FCF-BACF-55B84C8DF343}"/>
                </a:ext>
              </a:extLst>
            </p:cNvPr>
            <p:cNvSpPr/>
            <p:nvPr/>
          </p:nvSpPr>
          <p:spPr>
            <a:xfrm>
              <a:off x="7593530" y="2785515"/>
              <a:ext cx="89840" cy="18003"/>
            </a:xfrm>
            <a:custGeom>
              <a:avLst/>
              <a:gdLst/>
              <a:ahLst/>
              <a:cxnLst/>
              <a:rect l="l" t="t" r="r" b="b"/>
              <a:pathLst>
                <a:path w="1787" h="358" extrusionOk="0">
                  <a:moveTo>
                    <a:pt x="179" y="0"/>
                  </a:moveTo>
                  <a:cubicBezTo>
                    <a:pt x="96" y="0"/>
                    <a:pt x="0" y="72"/>
                    <a:pt x="0" y="179"/>
                  </a:cubicBezTo>
                  <a:cubicBezTo>
                    <a:pt x="0" y="274"/>
                    <a:pt x="84" y="357"/>
                    <a:pt x="179" y="357"/>
                  </a:cubicBezTo>
                  <a:lnTo>
                    <a:pt x="1608" y="357"/>
                  </a:lnTo>
                  <a:cubicBezTo>
                    <a:pt x="1703" y="357"/>
                    <a:pt x="1786" y="286"/>
                    <a:pt x="1786" y="179"/>
                  </a:cubicBezTo>
                  <a:cubicBezTo>
                    <a:pt x="1774" y="72"/>
                    <a:pt x="1703" y="0"/>
                    <a:pt x="160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Google Shape;13573;p63">
              <a:extLst>
                <a:ext uri="{FF2B5EF4-FFF2-40B4-BE49-F238E27FC236}">
                  <a16:creationId xmlns:a16="http://schemas.microsoft.com/office/drawing/2014/main" id="{6413D1B9-ED97-4AE0-B1A1-925CB63E11FE}"/>
                </a:ext>
              </a:extLst>
            </p:cNvPr>
            <p:cNvSpPr/>
            <p:nvPr/>
          </p:nvSpPr>
          <p:spPr>
            <a:xfrm>
              <a:off x="7593530" y="2813022"/>
              <a:ext cx="89840" cy="18053"/>
            </a:xfrm>
            <a:custGeom>
              <a:avLst/>
              <a:gdLst/>
              <a:ahLst/>
              <a:cxnLst/>
              <a:rect l="l" t="t" r="r" b="b"/>
              <a:pathLst>
                <a:path w="1787" h="359" extrusionOk="0">
                  <a:moveTo>
                    <a:pt x="179" y="1"/>
                  </a:moveTo>
                  <a:cubicBezTo>
                    <a:pt x="96" y="1"/>
                    <a:pt x="0" y="84"/>
                    <a:pt x="0" y="180"/>
                  </a:cubicBezTo>
                  <a:cubicBezTo>
                    <a:pt x="0" y="275"/>
                    <a:pt x="84" y="358"/>
                    <a:pt x="179" y="358"/>
                  </a:cubicBezTo>
                  <a:lnTo>
                    <a:pt x="1608" y="358"/>
                  </a:lnTo>
                  <a:cubicBezTo>
                    <a:pt x="1703" y="358"/>
                    <a:pt x="1786" y="287"/>
                    <a:pt x="1786" y="180"/>
                  </a:cubicBezTo>
                  <a:cubicBezTo>
                    <a:pt x="1774" y="84"/>
                    <a:pt x="1703" y="1"/>
                    <a:pt x="16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Google Shape;13574;p63">
              <a:extLst>
                <a:ext uri="{FF2B5EF4-FFF2-40B4-BE49-F238E27FC236}">
                  <a16:creationId xmlns:a16="http://schemas.microsoft.com/office/drawing/2014/main" id="{535F16DA-D562-4BF3-BD05-E9D6B575C0F0}"/>
                </a:ext>
              </a:extLst>
            </p:cNvPr>
            <p:cNvSpPr/>
            <p:nvPr/>
          </p:nvSpPr>
          <p:spPr>
            <a:xfrm>
              <a:off x="7593530" y="2841183"/>
              <a:ext cx="89840" cy="17399"/>
            </a:xfrm>
            <a:custGeom>
              <a:avLst/>
              <a:gdLst/>
              <a:ahLst/>
              <a:cxnLst/>
              <a:rect l="l" t="t" r="r" b="b"/>
              <a:pathLst>
                <a:path w="1787" h="346" extrusionOk="0">
                  <a:moveTo>
                    <a:pt x="179" y="1"/>
                  </a:moveTo>
                  <a:cubicBezTo>
                    <a:pt x="96" y="1"/>
                    <a:pt x="0" y="72"/>
                    <a:pt x="0" y="179"/>
                  </a:cubicBezTo>
                  <a:cubicBezTo>
                    <a:pt x="0" y="263"/>
                    <a:pt x="84" y="346"/>
                    <a:pt x="179" y="346"/>
                  </a:cubicBezTo>
                  <a:lnTo>
                    <a:pt x="1608" y="346"/>
                  </a:lnTo>
                  <a:cubicBezTo>
                    <a:pt x="1703" y="346"/>
                    <a:pt x="1786" y="274"/>
                    <a:pt x="1786" y="179"/>
                  </a:cubicBezTo>
                  <a:cubicBezTo>
                    <a:pt x="1774" y="72"/>
                    <a:pt x="1703" y="1"/>
                    <a:pt x="1608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Google Shape;13575;p63">
              <a:extLst>
                <a:ext uri="{FF2B5EF4-FFF2-40B4-BE49-F238E27FC236}">
                  <a16:creationId xmlns:a16="http://schemas.microsoft.com/office/drawing/2014/main" id="{6D56C120-8140-48B5-893D-344555660A30}"/>
                </a:ext>
              </a:extLst>
            </p:cNvPr>
            <p:cNvSpPr/>
            <p:nvPr/>
          </p:nvSpPr>
          <p:spPr>
            <a:xfrm>
              <a:off x="7513895" y="2919630"/>
              <a:ext cx="109597" cy="108418"/>
            </a:xfrm>
            <a:custGeom>
              <a:avLst/>
              <a:gdLst/>
              <a:ahLst/>
              <a:cxnLst/>
              <a:rect l="l" t="t" r="r" b="b"/>
              <a:pathLst>
                <a:path w="2180" h="2156" extrusionOk="0">
                  <a:moveTo>
                    <a:pt x="1084" y="0"/>
                  </a:moveTo>
                  <a:cubicBezTo>
                    <a:pt x="489" y="0"/>
                    <a:pt x="1" y="488"/>
                    <a:pt x="1" y="1084"/>
                  </a:cubicBezTo>
                  <a:cubicBezTo>
                    <a:pt x="1" y="1322"/>
                    <a:pt x="72" y="1548"/>
                    <a:pt x="215" y="1739"/>
                  </a:cubicBezTo>
                  <a:cubicBezTo>
                    <a:pt x="250" y="1780"/>
                    <a:pt x="300" y="1806"/>
                    <a:pt x="351" y="1806"/>
                  </a:cubicBezTo>
                  <a:cubicBezTo>
                    <a:pt x="387" y="1806"/>
                    <a:pt x="423" y="1792"/>
                    <a:pt x="453" y="1762"/>
                  </a:cubicBezTo>
                  <a:cubicBezTo>
                    <a:pt x="537" y="1715"/>
                    <a:pt x="549" y="1608"/>
                    <a:pt x="489" y="1524"/>
                  </a:cubicBezTo>
                  <a:cubicBezTo>
                    <a:pt x="382" y="1393"/>
                    <a:pt x="334" y="1250"/>
                    <a:pt x="334" y="1084"/>
                  </a:cubicBezTo>
                  <a:cubicBezTo>
                    <a:pt x="334" y="679"/>
                    <a:pt x="668" y="334"/>
                    <a:pt x="1084" y="334"/>
                  </a:cubicBezTo>
                  <a:cubicBezTo>
                    <a:pt x="1489" y="334"/>
                    <a:pt x="1823" y="667"/>
                    <a:pt x="1823" y="1084"/>
                  </a:cubicBezTo>
                  <a:cubicBezTo>
                    <a:pt x="1823" y="1334"/>
                    <a:pt x="1703" y="1560"/>
                    <a:pt x="1501" y="1691"/>
                  </a:cubicBezTo>
                  <a:cubicBezTo>
                    <a:pt x="1489" y="1691"/>
                    <a:pt x="1489" y="1715"/>
                    <a:pt x="1465" y="1715"/>
                  </a:cubicBezTo>
                  <a:lnTo>
                    <a:pt x="1453" y="1715"/>
                  </a:lnTo>
                  <a:lnTo>
                    <a:pt x="1442" y="1727"/>
                  </a:lnTo>
                  <a:lnTo>
                    <a:pt x="1430" y="1727"/>
                  </a:lnTo>
                  <a:cubicBezTo>
                    <a:pt x="1406" y="1727"/>
                    <a:pt x="1406" y="1739"/>
                    <a:pt x="1394" y="1739"/>
                  </a:cubicBezTo>
                  <a:cubicBezTo>
                    <a:pt x="1382" y="1739"/>
                    <a:pt x="1382" y="1751"/>
                    <a:pt x="1370" y="1751"/>
                  </a:cubicBezTo>
                  <a:lnTo>
                    <a:pt x="1346" y="1751"/>
                  </a:lnTo>
                  <a:cubicBezTo>
                    <a:pt x="1346" y="1751"/>
                    <a:pt x="1334" y="1751"/>
                    <a:pt x="1334" y="1774"/>
                  </a:cubicBezTo>
                  <a:lnTo>
                    <a:pt x="1322" y="1774"/>
                  </a:lnTo>
                  <a:cubicBezTo>
                    <a:pt x="1311" y="1774"/>
                    <a:pt x="1311" y="1774"/>
                    <a:pt x="1287" y="1786"/>
                  </a:cubicBezTo>
                  <a:cubicBezTo>
                    <a:pt x="1275" y="1786"/>
                    <a:pt x="1275" y="1786"/>
                    <a:pt x="1263" y="1798"/>
                  </a:cubicBezTo>
                  <a:lnTo>
                    <a:pt x="834" y="1798"/>
                  </a:lnTo>
                  <a:cubicBezTo>
                    <a:pt x="811" y="1798"/>
                    <a:pt x="811" y="1798"/>
                    <a:pt x="799" y="1786"/>
                  </a:cubicBezTo>
                  <a:cubicBezTo>
                    <a:pt x="787" y="1786"/>
                    <a:pt x="787" y="1786"/>
                    <a:pt x="775" y="1774"/>
                  </a:cubicBezTo>
                  <a:lnTo>
                    <a:pt x="751" y="1774"/>
                  </a:lnTo>
                  <a:cubicBezTo>
                    <a:pt x="732" y="1766"/>
                    <a:pt x="712" y="1762"/>
                    <a:pt x="691" y="1762"/>
                  </a:cubicBezTo>
                  <a:cubicBezTo>
                    <a:pt x="623" y="1762"/>
                    <a:pt x="555" y="1805"/>
                    <a:pt x="537" y="1870"/>
                  </a:cubicBezTo>
                  <a:cubicBezTo>
                    <a:pt x="501" y="1965"/>
                    <a:pt x="549" y="2072"/>
                    <a:pt x="632" y="2096"/>
                  </a:cubicBezTo>
                  <a:lnTo>
                    <a:pt x="656" y="2096"/>
                  </a:lnTo>
                  <a:cubicBezTo>
                    <a:pt x="668" y="2096"/>
                    <a:pt x="680" y="2108"/>
                    <a:pt x="691" y="2108"/>
                  </a:cubicBezTo>
                  <a:cubicBezTo>
                    <a:pt x="715" y="2108"/>
                    <a:pt x="727" y="2132"/>
                    <a:pt x="739" y="2132"/>
                  </a:cubicBezTo>
                  <a:lnTo>
                    <a:pt x="751" y="2132"/>
                  </a:lnTo>
                  <a:cubicBezTo>
                    <a:pt x="775" y="2132"/>
                    <a:pt x="787" y="2132"/>
                    <a:pt x="787" y="2143"/>
                  </a:cubicBezTo>
                  <a:lnTo>
                    <a:pt x="799" y="2143"/>
                  </a:lnTo>
                  <a:cubicBezTo>
                    <a:pt x="811" y="2143"/>
                    <a:pt x="834" y="2143"/>
                    <a:pt x="846" y="2155"/>
                  </a:cubicBezTo>
                  <a:lnTo>
                    <a:pt x="1156" y="2155"/>
                  </a:lnTo>
                  <a:cubicBezTo>
                    <a:pt x="1168" y="2155"/>
                    <a:pt x="1180" y="2155"/>
                    <a:pt x="1203" y="2143"/>
                  </a:cubicBezTo>
                  <a:lnTo>
                    <a:pt x="1215" y="2143"/>
                  </a:lnTo>
                  <a:cubicBezTo>
                    <a:pt x="1227" y="2143"/>
                    <a:pt x="1239" y="2143"/>
                    <a:pt x="1239" y="2132"/>
                  </a:cubicBezTo>
                  <a:lnTo>
                    <a:pt x="1263" y="2132"/>
                  </a:lnTo>
                  <a:cubicBezTo>
                    <a:pt x="1275" y="2132"/>
                    <a:pt x="1287" y="2108"/>
                    <a:pt x="1299" y="2108"/>
                  </a:cubicBezTo>
                  <a:cubicBezTo>
                    <a:pt x="1322" y="2108"/>
                    <a:pt x="1334" y="2096"/>
                    <a:pt x="1346" y="2096"/>
                  </a:cubicBezTo>
                  <a:lnTo>
                    <a:pt x="1358" y="2096"/>
                  </a:lnTo>
                  <a:cubicBezTo>
                    <a:pt x="1382" y="2096"/>
                    <a:pt x="1382" y="2084"/>
                    <a:pt x="1394" y="2084"/>
                  </a:cubicBezTo>
                  <a:lnTo>
                    <a:pt x="1406" y="2084"/>
                  </a:lnTo>
                  <a:cubicBezTo>
                    <a:pt x="1418" y="2084"/>
                    <a:pt x="1442" y="2072"/>
                    <a:pt x="1453" y="2072"/>
                  </a:cubicBezTo>
                  <a:cubicBezTo>
                    <a:pt x="1465" y="2072"/>
                    <a:pt x="1477" y="2048"/>
                    <a:pt x="1501" y="2048"/>
                  </a:cubicBezTo>
                  <a:lnTo>
                    <a:pt x="1513" y="2048"/>
                  </a:lnTo>
                  <a:cubicBezTo>
                    <a:pt x="1525" y="2048"/>
                    <a:pt x="1525" y="2036"/>
                    <a:pt x="1537" y="2036"/>
                  </a:cubicBezTo>
                  <a:lnTo>
                    <a:pt x="1561" y="2036"/>
                  </a:lnTo>
                  <a:cubicBezTo>
                    <a:pt x="1573" y="2024"/>
                    <a:pt x="1584" y="2024"/>
                    <a:pt x="1596" y="2012"/>
                  </a:cubicBezTo>
                  <a:cubicBezTo>
                    <a:pt x="1894" y="1798"/>
                    <a:pt x="2073" y="1465"/>
                    <a:pt x="2073" y="1096"/>
                  </a:cubicBezTo>
                  <a:cubicBezTo>
                    <a:pt x="2180" y="488"/>
                    <a:pt x="1692" y="0"/>
                    <a:pt x="10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4" name="Process Graphic 17 (3)">
            <a:extLst>
              <a:ext uri="{FF2B5EF4-FFF2-40B4-BE49-F238E27FC236}">
                <a16:creationId xmlns:a16="http://schemas.microsoft.com/office/drawing/2014/main" id="{41281EC2-BCCD-4449-8B7A-2687659AF81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200151" y="3514693"/>
            <a:ext cx="465545" cy="465545"/>
          </a:xfrm>
          <a:prstGeom prst="rect">
            <a:avLst/>
          </a:prstGeom>
        </p:spPr>
      </p:pic>
      <p:pic>
        <p:nvPicPr>
          <p:cNvPr id="62" name="Handshake Graphic 17 (4)">
            <a:extLst>
              <a:ext uri="{FF2B5EF4-FFF2-40B4-BE49-F238E27FC236}">
                <a16:creationId xmlns:a16="http://schemas.microsoft.com/office/drawing/2014/main" id="{07DD37BD-7BF8-479C-B1BA-E0759AA2774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1200150" y="4210418"/>
            <a:ext cx="465545" cy="465545"/>
          </a:xfrm>
          <a:prstGeom prst="rect">
            <a:avLst/>
          </a:prstGeom>
        </p:spPr>
      </p:pic>
      <p:pic>
        <p:nvPicPr>
          <p:cNvPr id="65" name="People Graphic 37 (4)">
            <a:extLst>
              <a:ext uri="{FF2B5EF4-FFF2-40B4-BE49-F238E27FC236}">
                <a16:creationId xmlns:a16="http://schemas.microsoft.com/office/drawing/2014/main" id="{CF2BDDB0-558B-49BC-8195-440CC7C5552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>
            <a:extLs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1191416" y="5615654"/>
            <a:ext cx="465545" cy="465545"/>
          </a:xfrm>
          <a:prstGeom prst="rect">
            <a:avLst/>
          </a:prstGeom>
        </p:spPr>
      </p:pic>
      <p:pic>
        <p:nvPicPr>
          <p:cNvPr id="63" name="Graphic 62" descr="Workflow outline">
            <a:extLst>
              <a:ext uri="{FF2B5EF4-FFF2-40B4-BE49-F238E27FC236}">
                <a16:creationId xmlns:a16="http://schemas.microsoft.com/office/drawing/2014/main" id="{A3CB77CF-A475-4306-81E1-653D513B770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9"/>
              </a:ext>
            </a:extLst>
          </a:blip>
          <a:stretch>
            <a:fillRect/>
          </a:stretch>
        </p:blipFill>
        <p:spPr>
          <a:xfrm>
            <a:off x="1136190" y="4870063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858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ct 111" hidden="1">
            <a:extLst>
              <a:ext uri="{FF2B5EF4-FFF2-40B4-BE49-F238E27FC236}">
                <a16:creationId xmlns:a16="http://schemas.microsoft.com/office/drawing/2014/main" id="{42D6783D-FC86-46BB-81A7-105524F92A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2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12" name="Object 111" hidden="1">
                        <a:extLst>
                          <a:ext uri="{FF2B5EF4-FFF2-40B4-BE49-F238E27FC236}">
                            <a16:creationId xmlns:a16="http://schemas.microsoft.com/office/drawing/2014/main" id="{42D6783D-FC86-46BB-81A7-105524F92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1A0829C3-C86B-4668-B867-780EE863AFE1}"/>
              </a:ext>
            </a:extLst>
          </p:cNvPr>
          <p:cNvGrpSpPr/>
          <p:nvPr/>
        </p:nvGrpSpPr>
        <p:grpSpPr>
          <a:xfrm>
            <a:off x="4434630" y="2083868"/>
            <a:ext cx="3321258" cy="1833125"/>
            <a:chOff x="617534" y="1336479"/>
            <a:chExt cx="6028806" cy="2352974"/>
          </a:xfrm>
        </p:grpSpPr>
        <p:sp>
          <p:nvSpPr>
            <p:cNvPr id="57" name="TextBox 4">
              <a:extLst>
                <a:ext uri="{FF2B5EF4-FFF2-40B4-BE49-F238E27FC236}">
                  <a16:creationId xmlns:a16="http://schemas.microsoft.com/office/drawing/2014/main" id="{C9D8BE34-6061-4A8F-921F-8E4D9B54A5B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336479"/>
              <a:ext cx="6012001" cy="235297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ut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lement core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that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meets all required capabilities of the Commiss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Review agreement with Services Australia to ensure configurability of future core system opt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lement other system-related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nitiatives,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e.g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.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full function provider portal, automated data entry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8177ED5-EAC0-43B3-BC37-E6676370150C}"/>
                </a:ext>
              </a:extLst>
            </p:cNvPr>
            <p:cNvCxnSpPr>
              <a:cxnSpLocks/>
            </p:cNvCxnSpPr>
            <p:nvPr/>
          </p:nvCxnSpPr>
          <p:spPr>
            <a:xfrm>
              <a:off x="634341" y="1376374"/>
              <a:ext cx="6011999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20DA3D-41AD-4F62-8E35-700CCD1C4C13}"/>
              </a:ext>
            </a:extLst>
          </p:cNvPr>
          <p:cNvGrpSpPr/>
          <p:nvPr/>
        </p:nvGrpSpPr>
        <p:grpSpPr>
          <a:xfrm>
            <a:off x="982663" y="2055948"/>
            <a:ext cx="3312000" cy="1861045"/>
            <a:chOff x="617534" y="1570079"/>
            <a:chExt cx="6012001" cy="1806401"/>
          </a:xfrm>
        </p:grpSpPr>
        <p:sp>
          <p:nvSpPr>
            <p:cNvPr id="70" name="TextBox 4">
              <a:extLst>
                <a:ext uri="{FF2B5EF4-FFF2-40B4-BE49-F238E27FC236}">
                  <a16:creationId xmlns:a16="http://schemas.microsoft.com/office/drawing/2014/main" id="{DABC1CF3-528E-4771-BEF1-6B07AE476073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570079"/>
              <a:ext cx="6012001" cy="180640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blem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The current system has limited case, workflow and contact management capability. The current system does not support the Commission’s aspiration to be a contemporary, purpose-centred regulator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System provides little visibility of regulatory risk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System is not easily configurable to respond to changing </a:t>
              </a: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policy and legislation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endParaRP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D838BA-A124-460C-B48C-282BEA6CE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613E042-6CFD-40D8-96D1-8C0C76A4874E}"/>
              </a:ext>
            </a:extLst>
          </p:cNvPr>
          <p:cNvSpPr txBox="1">
            <a:spLocks/>
          </p:cNvSpPr>
          <p:nvPr/>
        </p:nvSpPr>
        <p:spPr>
          <a:xfrm>
            <a:off x="11718924" y="6658264"/>
            <a:ext cx="492551" cy="3521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A3798C-DB7A-4257-BDE6-DD298EB65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6788" y="-1"/>
            <a:ext cx="7153337" cy="1376364"/>
          </a:xfrm>
        </p:spPr>
        <p:txBody>
          <a:bodyPr vert="horz"/>
          <a:lstStyle/>
          <a:p>
            <a:r>
              <a:rPr lang="en-GB" dirty="0"/>
              <a:t>1. Modernise core systems</a:t>
            </a:r>
          </a:p>
        </p:txBody>
      </p:sp>
      <p:sp>
        <p:nvSpPr>
          <p:cNvPr id="54" name="Rectangle 10">
            <a:extLst>
              <a:ext uri="{FF2B5EF4-FFF2-40B4-BE49-F238E27FC236}">
                <a16:creationId xmlns:a16="http://schemas.microsoft.com/office/drawing/2014/main" id="{374652A6-5705-4BB8-9ADD-09696A31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2" y="1562826"/>
            <a:ext cx="1023445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tream overview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C99158F-28F3-4A46-A620-3DECF036A48F}"/>
              </a:ext>
            </a:extLst>
          </p:cNvPr>
          <p:cNvGrpSpPr/>
          <p:nvPr/>
        </p:nvGrpSpPr>
        <p:grpSpPr>
          <a:xfrm>
            <a:off x="4009352" y="2106489"/>
            <a:ext cx="289650" cy="257508"/>
            <a:chOff x="3843088" y="2151476"/>
            <a:chExt cx="403950" cy="36830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EFE3F3-77AA-4812-BD42-5076BD014317}"/>
                </a:ext>
              </a:extLst>
            </p:cNvPr>
            <p:cNvSpPr>
              <a:spLocks/>
            </p:cNvSpPr>
            <p:nvPr/>
          </p:nvSpPr>
          <p:spPr>
            <a:xfrm>
              <a:off x="3843088" y="2151476"/>
              <a:ext cx="403950" cy="3683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9902;p57">
              <a:extLst>
                <a:ext uri="{FF2B5EF4-FFF2-40B4-BE49-F238E27FC236}">
                  <a16:creationId xmlns:a16="http://schemas.microsoft.com/office/drawing/2014/main" id="{4E678130-718C-4CDF-A7B7-3F35363803C5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19085" y="2209674"/>
              <a:ext cx="252002" cy="252006"/>
              <a:chOff x="4126815" y="2760704"/>
              <a:chExt cx="380393" cy="363118"/>
            </a:xfrm>
            <a:solidFill>
              <a:schemeClr val="bg1"/>
            </a:solidFill>
          </p:grpSpPr>
          <p:sp>
            <p:nvSpPr>
              <p:cNvPr id="75" name="Google Shape;9903;p57">
                <a:extLst>
                  <a:ext uri="{FF2B5EF4-FFF2-40B4-BE49-F238E27FC236}">
                    <a16:creationId xmlns:a16="http://schemas.microsoft.com/office/drawing/2014/main" id="{547B6BAB-5CA4-464B-A05E-16C34AE4FDF0}"/>
                  </a:ext>
                </a:extLst>
              </p:cNvPr>
              <p:cNvSpPr/>
              <p:nvPr/>
            </p:nvSpPr>
            <p:spPr>
              <a:xfrm>
                <a:off x="4219825" y="2822435"/>
                <a:ext cx="103267" cy="29056"/>
              </a:xfrm>
              <a:custGeom>
                <a:avLst/>
                <a:gdLst/>
                <a:ahLst/>
                <a:cxnLst/>
                <a:rect l="l" t="t" r="r" b="b"/>
                <a:pathLst>
                  <a:path w="3252" h="915" extrusionOk="0">
                    <a:moveTo>
                      <a:pt x="1620" y="0"/>
                    </a:moveTo>
                    <a:cubicBezTo>
                      <a:pt x="1025" y="0"/>
                      <a:pt x="477" y="215"/>
                      <a:pt x="60" y="631"/>
                    </a:cubicBezTo>
                    <a:cubicBezTo>
                      <a:pt x="1" y="691"/>
                      <a:pt x="1" y="810"/>
                      <a:pt x="60" y="869"/>
                    </a:cubicBezTo>
                    <a:cubicBezTo>
                      <a:pt x="90" y="899"/>
                      <a:pt x="132" y="914"/>
                      <a:pt x="175" y="914"/>
                    </a:cubicBezTo>
                    <a:cubicBezTo>
                      <a:pt x="218" y="914"/>
                      <a:pt x="263" y="899"/>
                      <a:pt x="298" y="869"/>
                    </a:cubicBezTo>
                    <a:cubicBezTo>
                      <a:pt x="656" y="512"/>
                      <a:pt x="1120" y="322"/>
                      <a:pt x="1620" y="322"/>
                    </a:cubicBezTo>
                    <a:cubicBezTo>
                      <a:pt x="2132" y="322"/>
                      <a:pt x="2596" y="512"/>
                      <a:pt x="2953" y="869"/>
                    </a:cubicBezTo>
                    <a:cubicBezTo>
                      <a:pt x="2983" y="899"/>
                      <a:pt x="3028" y="914"/>
                      <a:pt x="3073" y="914"/>
                    </a:cubicBezTo>
                    <a:cubicBezTo>
                      <a:pt x="3117" y="914"/>
                      <a:pt x="3162" y="899"/>
                      <a:pt x="3192" y="869"/>
                    </a:cubicBezTo>
                    <a:cubicBezTo>
                      <a:pt x="3251" y="810"/>
                      <a:pt x="3251" y="691"/>
                      <a:pt x="3192" y="631"/>
                    </a:cubicBezTo>
                    <a:cubicBezTo>
                      <a:pt x="2775" y="215"/>
                      <a:pt x="2215" y="0"/>
                      <a:pt x="1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Google Shape;9904;p57">
                <a:extLst>
                  <a:ext uri="{FF2B5EF4-FFF2-40B4-BE49-F238E27FC236}">
                    <a16:creationId xmlns:a16="http://schemas.microsoft.com/office/drawing/2014/main" id="{CB7B676A-B4A1-4CC0-885C-B1414DA479E7}"/>
                  </a:ext>
                </a:extLst>
              </p:cNvPr>
              <p:cNvSpPr/>
              <p:nvPr/>
            </p:nvSpPr>
            <p:spPr>
              <a:xfrm>
                <a:off x="4126815" y="2760704"/>
                <a:ext cx="380393" cy="363118"/>
              </a:xfrm>
              <a:custGeom>
                <a:avLst/>
                <a:gdLst/>
                <a:ahLst/>
                <a:cxnLst/>
                <a:rect l="l" t="t" r="r" b="b"/>
                <a:pathLst>
                  <a:path w="11979" h="11435" extrusionOk="0">
                    <a:moveTo>
                      <a:pt x="7621" y="6921"/>
                    </a:moveTo>
                    <a:lnTo>
                      <a:pt x="8061" y="7373"/>
                    </a:lnTo>
                    <a:lnTo>
                      <a:pt x="7787" y="7659"/>
                    </a:lnTo>
                    <a:lnTo>
                      <a:pt x="7335" y="7207"/>
                    </a:lnTo>
                    <a:cubicBezTo>
                      <a:pt x="7442" y="7123"/>
                      <a:pt x="7526" y="7016"/>
                      <a:pt x="7621" y="6921"/>
                    </a:cubicBezTo>
                    <a:close/>
                    <a:moveTo>
                      <a:pt x="4552" y="328"/>
                    </a:moveTo>
                    <a:cubicBezTo>
                      <a:pt x="5525" y="328"/>
                      <a:pt x="6496" y="700"/>
                      <a:pt x="7228" y="1444"/>
                    </a:cubicBezTo>
                    <a:cubicBezTo>
                      <a:pt x="8645" y="2861"/>
                      <a:pt x="8704" y="5076"/>
                      <a:pt x="7466" y="6564"/>
                    </a:cubicBezTo>
                    <a:cubicBezTo>
                      <a:pt x="7311" y="6766"/>
                      <a:pt x="7156" y="6909"/>
                      <a:pt x="6978" y="7064"/>
                    </a:cubicBezTo>
                    <a:cubicBezTo>
                      <a:pt x="6279" y="7651"/>
                      <a:pt x="5417" y="7944"/>
                      <a:pt x="4554" y="7944"/>
                    </a:cubicBezTo>
                    <a:cubicBezTo>
                      <a:pt x="3579" y="7944"/>
                      <a:pt x="2603" y="7571"/>
                      <a:pt x="1858" y="6826"/>
                    </a:cubicBezTo>
                    <a:cubicBezTo>
                      <a:pt x="370" y="5338"/>
                      <a:pt x="370" y="2921"/>
                      <a:pt x="1858" y="1444"/>
                    </a:cubicBezTo>
                    <a:cubicBezTo>
                      <a:pt x="2602" y="700"/>
                      <a:pt x="3579" y="328"/>
                      <a:pt x="4552" y="328"/>
                    </a:cubicBezTo>
                    <a:close/>
                    <a:moveTo>
                      <a:pt x="8518" y="7440"/>
                    </a:moveTo>
                    <a:cubicBezTo>
                      <a:pt x="8550" y="7440"/>
                      <a:pt x="8580" y="7453"/>
                      <a:pt x="8597" y="7481"/>
                    </a:cubicBezTo>
                    <a:lnTo>
                      <a:pt x="9061" y="7897"/>
                    </a:lnTo>
                    <a:lnTo>
                      <a:pt x="8276" y="8683"/>
                    </a:lnTo>
                    <a:lnTo>
                      <a:pt x="7883" y="8195"/>
                    </a:lnTo>
                    <a:cubicBezTo>
                      <a:pt x="7847" y="8135"/>
                      <a:pt x="7847" y="8052"/>
                      <a:pt x="7883" y="8016"/>
                    </a:cubicBezTo>
                    <a:lnTo>
                      <a:pt x="8418" y="7481"/>
                    </a:lnTo>
                    <a:cubicBezTo>
                      <a:pt x="8444" y="7456"/>
                      <a:pt x="8482" y="7440"/>
                      <a:pt x="8518" y="7440"/>
                    </a:cubicBezTo>
                    <a:close/>
                    <a:moveTo>
                      <a:pt x="9335" y="8100"/>
                    </a:moveTo>
                    <a:lnTo>
                      <a:pt x="11252" y="9779"/>
                    </a:lnTo>
                    <a:cubicBezTo>
                      <a:pt x="11574" y="10064"/>
                      <a:pt x="11597" y="10576"/>
                      <a:pt x="11276" y="10886"/>
                    </a:cubicBezTo>
                    <a:cubicBezTo>
                      <a:pt x="11128" y="11033"/>
                      <a:pt x="10940" y="11105"/>
                      <a:pt x="10752" y="11105"/>
                    </a:cubicBezTo>
                    <a:cubicBezTo>
                      <a:pt x="10544" y="11105"/>
                      <a:pt x="10336" y="11018"/>
                      <a:pt x="10181" y="10850"/>
                    </a:cubicBezTo>
                    <a:lnTo>
                      <a:pt x="8514" y="8921"/>
                    </a:lnTo>
                    <a:lnTo>
                      <a:pt x="9335" y="8100"/>
                    </a:lnTo>
                    <a:close/>
                    <a:moveTo>
                      <a:pt x="4543" y="1"/>
                    </a:moveTo>
                    <a:cubicBezTo>
                      <a:pt x="3483" y="1"/>
                      <a:pt x="2424" y="402"/>
                      <a:pt x="1620" y="1206"/>
                    </a:cubicBezTo>
                    <a:cubicBezTo>
                      <a:pt x="1" y="2837"/>
                      <a:pt x="1" y="5457"/>
                      <a:pt x="1620" y="7064"/>
                    </a:cubicBezTo>
                    <a:cubicBezTo>
                      <a:pt x="2431" y="7875"/>
                      <a:pt x="3489" y="8272"/>
                      <a:pt x="4543" y="8272"/>
                    </a:cubicBezTo>
                    <a:cubicBezTo>
                      <a:pt x="5440" y="8272"/>
                      <a:pt x="6334" y="7985"/>
                      <a:pt x="7073" y="7421"/>
                    </a:cubicBezTo>
                    <a:lnTo>
                      <a:pt x="7561" y="7909"/>
                    </a:lnTo>
                    <a:cubicBezTo>
                      <a:pt x="7490" y="8076"/>
                      <a:pt x="7502" y="8278"/>
                      <a:pt x="7633" y="8409"/>
                    </a:cubicBezTo>
                    <a:lnTo>
                      <a:pt x="9954" y="11064"/>
                    </a:lnTo>
                    <a:cubicBezTo>
                      <a:pt x="10171" y="11312"/>
                      <a:pt x="10471" y="11434"/>
                      <a:pt x="10771" y="11434"/>
                    </a:cubicBezTo>
                    <a:cubicBezTo>
                      <a:pt x="11049" y="11434"/>
                      <a:pt x="11326" y="11330"/>
                      <a:pt x="11538" y="11124"/>
                    </a:cubicBezTo>
                    <a:cubicBezTo>
                      <a:pt x="11978" y="10671"/>
                      <a:pt x="11955" y="9945"/>
                      <a:pt x="11478" y="9540"/>
                    </a:cubicBezTo>
                    <a:lnTo>
                      <a:pt x="8823" y="7219"/>
                    </a:lnTo>
                    <a:cubicBezTo>
                      <a:pt x="8737" y="7139"/>
                      <a:pt x="8629" y="7104"/>
                      <a:pt x="8522" y="7104"/>
                    </a:cubicBezTo>
                    <a:cubicBezTo>
                      <a:pt x="8453" y="7104"/>
                      <a:pt x="8384" y="7119"/>
                      <a:pt x="8323" y="7147"/>
                    </a:cubicBezTo>
                    <a:lnTo>
                      <a:pt x="7823" y="6659"/>
                    </a:lnTo>
                    <a:cubicBezTo>
                      <a:pt x="9073" y="5052"/>
                      <a:pt x="8978" y="2694"/>
                      <a:pt x="7466" y="1206"/>
                    </a:cubicBezTo>
                    <a:cubicBezTo>
                      <a:pt x="6662" y="402"/>
                      <a:pt x="5603" y="1"/>
                      <a:pt x="45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Google Shape;9905;p57">
                <a:extLst>
                  <a:ext uri="{FF2B5EF4-FFF2-40B4-BE49-F238E27FC236}">
                    <a16:creationId xmlns:a16="http://schemas.microsoft.com/office/drawing/2014/main" id="{FB3FED87-D208-42E1-9BEC-5D720774ADEF}"/>
                  </a:ext>
                </a:extLst>
              </p:cNvPr>
              <p:cNvSpPr/>
              <p:nvPr/>
            </p:nvSpPr>
            <p:spPr>
              <a:xfrm>
                <a:off x="4278826" y="2791379"/>
                <a:ext cx="103998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275" h="6360" extrusionOk="0">
                    <a:moveTo>
                      <a:pt x="191" y="0"/>
                    </a:moveTo>
                    <a:cubicBezTo>
                      <a:pt x="106" y="0"/>
                      <a:pt x="35" y="59"/>
                      <a:pt x="24" y="157"/>
                    </a:cubicBezTo>
                    <a:cubicBezTo>
                      <a:pt x="0" y="264"/>
                      <a:pt x="60" y="335"/>
                      <a:pt x="167" y="347"/>
                    </a:cubicBezTo>
                    <a:cubicBezTo>
                      <a:pt x="798" y="442"/>
                      <a:pt x="1345" y="716"/>
                      <a:pt x="1786" y="1169"/>
                    </a:cubicBezTo>
                    <a:cubicBezTo>
                      <a:pt x="2905" y="2288"/>
                      <a:pt x="2905" y="4110"/>
                      <a:pt x="1786" y="5229"/>
                    </a:cubicBezTo>
                    <a:cubicBezTo>
                      <a:pt x="1345" y="5645"/>
                      <a:pt x="774" y="5931"/>
                      <a:pt x="167" y="6015"/>
                    </a:cubicBezTo>
                    <a:cubicBezTo>
                      <a:pt x="83" y="6038"/>
                      <a:pt x="24" y="6122"/>
                      <a:pt x="24" y="6217"/>
                    </a:cubicBezTo>
                    <a:cubicBezTo>
                      <a:pt x="36" y="6300"/>
                      <a:pt x="107" y="6360"/>
                      <a:pt x="179" y="6360"/>
                    </a:cubicBezTo>
                    <a:lnTo>
                      <a:pt x="214" y="6360"/>
                    </a:lnTo>
                    <a:cubicBezTo>
                      <a:pt x="917" y="6253"/>
                      <a:pt x="1536" y="5943"/>
                      <a:pt x="2024" y="5455"/>
                    </a:cubicBezTo>
                    <a:cubicBezTo>
                      <a:pt x="3274" y="4205"/>
                      <a:pt x="3274" y="2169"/>
                      <a:pt x="2024" y="919"/>
                    </a:cubicBezTo>
                    <a:cubicBezTo>
                      <a:pt x="1536" y="419"/>
                      <a:pt x="917" y="109"/>
                      <a:pt x="214" y="2"/>
                    </a:cubicBezTo>
                    <a:cubicBezTo>
                      <a:pt x="206" y="1"/>
                      <a:pt x="198" y="0"/>
                      <a:pt x="1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Google Shape;9906;p57">
                <a:extLst>
                  <a:ext uri="{FF2B5EF4-FFF2-40B4-BE49-F238E27FC236}">
                    <a16:creationId xmlns:a16="http://schemas.microsoft.com/office/drawing/2014/main" id="{B118434F-CF5B-4FB4-A093-1C2C1F276A15}"/>
                  </a:ext>
                </a:extLst>
              </p:cNvPr>
              <p:cNvSpPr/>
              <p:nvPr/>
            </p:nvSpPr>
            <p:spPr>
              <a:xfrm>
                <a:off x="4159332" y="2791379"/>
                <a:ext cx="105903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360" extrusionOk="0">
                    <a:moveTo>
                      <a:pt x="3162" y="1"/>
                    </a:moveTo>
                    <a:cubicBezTo>
                      <a:pt x="3156" y="1"/>
                      <a:pt x="3150" y="1"/>
                      <a:pt x="3144" y="2"/>
                    </a:cubicBezTo>
                    <a:cubicBezTo>
                      <a:pt x="2430" y="61"/>
                      <a:pt x="1775" y="383"/>
                      <a:pt x="1251" y="895"/>
                    </a:cubicBezTo>
                    <a:cubicBezTo>
                      <a:pt x="1" y="2145"/>
                      <a:pt x="1" y="4193"/>
                      <a:pt x="1251" y="5443"/>
                    </a:cubicBezTo>
                    <a:cubicBezTo>
                      <a:pt x="1775" y="5955"/>
                      <a:pt x="2430" y="6277"/>
                      <a:pt x="3144" y="6360"/>
                    </a:cubicBezTo>
                    <a:lnTo>
                      <a:pt x="3156" y="6360"/>
                    </a:lnTo>
                    <a:cubicBezTo>
                      <a:pt x="3251" y="6360"/>
                      <a:pt x="3311" y="6300"/>
                      <a:pt x="3323" y="6217"/>
                    </a:cubicBezTo>
                    <a:cubicBezTo>
                      <a:pt x="3334" y="6122"/>
                      <a:pt x="3263" y="6038"/>
                      <a:pt x="3168" y="6038"/>
                    </a:cubicBezTo>
                    <a:cubicBezTo>
                      <a:pt x="2537" y="5955"/>
                      <a:pt x="1941" y="5681"/>
                      <a:pt x="1477" y="5217"/>
                    </a:cubicBezTo>
                    <a:cubicBezTo>
                      <a:pt x="358" y="4098"/>
                      <a:pt x="358" y="2264"/>
                      <a:pt x="1477" y="1157"/>
                    </a:cubicBezTo>
                    <a:cubicBezTo>
                      <a:pt x="1941" y="692"/>
                      <a:pt x="2513" y="407"/>
                      <a:pt x="3168" y="335"/>
                    </a:cubicBezTo>
                    <a:cubicBezTo>
                      <a:pt x="3263" y="311"/>
                      <a:pt x="3334" y="240"/>
                      <a:pt x="3323" y="157"/>
                    </a:cubicBezTo>
                    <a:cubicBezTo>
                      <a:pt x="3312" y="68"/>
                      <a:pt x="3239" y="1"/>
                      <a:pt x="316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25AB410E-9F14-4018-BE4E-BE8D74F1ADCB}"/>
              </a:ext>
            </a:extLst>
          </p:cNvPr>
          <p:cNvGrpSpPr/>
          <p:nvPr/>
        </p:nvGrpSpPr>
        <p:grpSpPr>
          <a:xfrm>
            <a:off x="7908295" y="2107657"/>
            <a:ext cx="3312000" cy="3365379"/>
            <a:chOff x="603685" y="1341092"/>
            <a:chExt cx="6012002" cy="4648438"/>
          </a:xfrm>
        </p:grpSpPr>
        <p:sp>
          <p:nvSpPr>
            <p:cNvPr id="80" name="TextBox 4">
              <a:extLst>
                <a:ext uri="{FF2B5EF4-FFF2-40B4-BE49-F238E27FC236}">
                  <a16:creationId xmlns:a16="http://schemas.microsoft.com/office/drawing/2014/main" id="{B4198084-010D-43B5-90F8-2A23352817B2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03685" y="1351164"/>
              <a:ext cx="6012000" cy="46383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rget state components addressed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orkflow management capability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tact management capability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se management capability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mple to change underlying business logic in system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gulatory risk framework automatically drives alerts and activities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ngle source of truth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sistency of communications across functions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fer of information and activity across functions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ll function provider portal (one source for all information and correspondence)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isible progress of applications / complaint status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mated data entry and validation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910D9B8-E925-4CCE-8FE4-A614126827F0}"/>
                </a:ext>
              </a:extLst>
            </p:cNvPr>
            <p:cNvCxnSpPr>
              <a:cxnSpLocks/>
            </p:cNvCxnSpPr>
            <p:nvPr/>
          </p:nvCxnSpPr>
          <p:spPr>
            <a:xfrm>
              <a:off x="603685" y="1341092"/>
              <a:ext cx="6012002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6E494A2-55C3-4AFC-9FE7-55532B9513D6}"/>
              </a:ext>
            </a:extLst>
          </p:cNvPr>
          <p:cNvGrpSpPr/>
          <p:nvPr/>
        </p:nvGrpSpPr>
        <p:grpSpPr>
          <a:xfrm>
            <a:off x="7474550" y="2124903"/>
            <a:ext cx="289650" cy="256374"/>
            <a:chOff x="10927467" y="2335634"/>
            <a:chExt cx="289650" cy="25637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F11FC4B-6B53-42E1-BC0B-612274A7AAD7}"/>
                </a:ext>
              </a:extLst>
            </p:cNvPr>
            <p:cNvSpPr>
              <a:spLocks/>
            </p:cNvSpPr>
            <p:nvPr/>
          </p:nvSpPr>
          <p:spPr>
            <a:xfrm>
              <a:off x="10927467" y="2335634"/>
              <a:ext cx="289650" cy="25637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34" name="Idea Google Shape;10130;p57">
              <a:extLst>
                <a:ext uri="{FF2B5EF4-FFF2-40B4-BE49-F238E27FC236}">
                  <a16:creationId xmlns:a16="http://schemas.microsoft.com/office/drawing/2014/main" id="{3227F15B-1195-4419-A2EC-19F2D1C7268B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0990069" y="2375725"/>
              <a:ext cx="164445" cy="176192"/>
              <a:chOff x="5463762" y="5502505"/>
              <a:chExt cx="491329" cy="526428"/>
            </a:xfrm>
            <a:solidFill>
              <a:srgbClr val="FFFFFF"/>
            </a:solidFill>
          </p:grpSpPr>
          <p:sp>
            <p:nvSpPr>
              <p:cNvPr id="136" name="Google Shape;10131;p57">
                <a:extLst>
                  <a:ext uri="{FF2B5EF4-FFF2-40B4-BE49-F238E27FC236}">
                    <a16:creationId xmlns:a16="http://schemas.microsoft.com/office/drawing/2014/main" id="{B97F975D-D5D0-4F98-92BD-811A4A056B2A}"/>
                  </a:ext>
                </a:extLst>
              </p:cNvPr>
              <p:cNvSpPr/>
              <p:nvPr/>
            </p:nvSpPr>
            <p:spPr>
              <a:xfrm>
                <a:off x="5544752" y="5590432"/>
                <a:ext cx="322368" cy="438501"/>
              </a:xfrm>
              <a:custGeom>
                <a:avLst/>
                <a:gdLst/>
                <a:ahLst/>
                <a:cxnLst/>
                <a:rect l="l" t="t" r="r" b="b"/>
                <a:pathLst>
                  <a:path w="7109" h="9670" extrusionOk="0">
                    <a:moveTo>
                      <a:pt x="3643" y="359"/>
                    </a:moveTo>
                    <a:cubicBezTo>
                      <a:pt x="4417" y="359"/>
                      <a:pt x="5132" y="645"/>
                      <a:pt x="5703" y="1157"/>
                    </a:cubicBezTo>
                    <a:cubicBezTo>
                      <a:pt x="6358" y="1752"/>
                      <a:pt x="6751" y="2597"/>
                      <a:pt x="6751" y="3478"/>
                    </a:cubicBezTo>
                    <a:cubicBezTo>
                      <a:pt x="6739" y="4074"/>
                      <a:pt x="6572" y="4669"/>
                      <a:pt x="6251" y="5157"/>
                    </a:cubicBezTo>
                    <a:cubicBezTo>
                      <a:pt x="5929" y="5645"/>
                      <a:pt x="5489" y="6038"/>
                      <a:pt x="4953" y="6288"/>
                    </a:cubicBezTo>
                    <a:cubicBezTo>
                      <a:pt x="4620" y="6431"/>
                      <a:pt x="4417" y="6776"/>
                      <a:pt x="4417" y="7146"/>
                    </a:cubicBezTo>
                    <a:lnTo>
                      <a:pt x="4417" y="7360"/>
                    </a:lnTo>
                    <a:lnTo>
                      <a:pt x="2834" y="7360"/>
                    </a:lnTo>
                    <a:lnTo>
                      <a:pt x="2834" y="7146"/>
                    </a:lnTo>
                    <a:cubicBezTo>
                      <a:pt x="2834" y="6776"/>
                      <a:pt x="2631" y="6455"/>
                      <a:pt x="2298" y="6288"/>
                    </a:cubicBezTo>
                    <a:cubicBezTo>
                      <a:pt x="1084" y="5705"/>
                      <a:pt x="381" y="4407"/>
                      <a:pt x="548" y="3074"/>
                    </a:cubicBezTo>
                    <a:cubicBezTo>
                      <a:pt x="726" y="1669"/>
                      <a:pt x="1869" y="526"/>
                      <a:pt x="3286" y="383"/>
                    </a:cubicBezTo>
                    <a:cubicBezTo>
                      <a:pt x="3405" y="359"/>
                      <a:pt x="3524" y="359"/>
                      <a:pt x="3643" y="359"/>
                    </a:cubicBezTo>
                    <a:close/>
                    <a:moveTo>
                      <a:pt x="4417" y="7729"/>
                    </a:moveTo>
                    <a:lnTo>
                      <a:pt x="4417" y="8324"/>
                    </a:lnTo>
                    <a:cubicBezTo>
                      <a:pt x="4417" y="8443"/>
                      <a:pt x="4322" y="8539"/>
                      <a:pt x="4203" y="8539"/>
                    </a:cubicBezTo>
                    <a:lnTo>
                      <a:pt x="3048" y="8539"/>
                    </a:lnTo>
                    <a:cubicBezTo>
                      <a:pt x="2929" y="8539"/>
                      <a:pt x="2834" y="8443"/>
                      <a:pt x="2834" y="8324"/>
                    </a:cubicBezTo>
                    <a:lnTo>
                      <a:pt x="2834" y="7729"/>
                    </a:lnTo>
                    <a:close/>
                    <a:moveTo>
                      <a:pt x="4024" y="8896"/>
                    </a:moveTo>
                    <a:lnTo>
                      <a:pt x="4024" y="9098"/>
                    </a:lnTo>
                    <a:cubicBezTo>
                      <a:pt x="4024" y="9217"/>
                      <a:pt x="3941" y="9313"/>
                      <a:pt x="3822" y="9313"/>
                    </a:cubicBezTo>
                    <a:lnTo>
                      <a:pt x="3429" y="9313"/>
                    </a:lnTo>
                    <a:cubicBezTo>
                      <a:pt x="3310" y="9313"/>
                      <a:pt x="3227" y="9217"/>
                      <a:pt x="3227" y="9098"/>
                    </a:cubicBezTo>
                    <a:lnTo>
                      <a:pt x="3227" y="8896"/>
                    </a:lnTo>
                    <a:close/>
                    <a:moveTo>
                      <a:pt x="3658" y="1"/>
                    </a:moveTo>
                    <a:cubicBezTo>
                      <a:pt x="3519" y="1"/>
                      <a:pt x="3379" y="9"/>
                      <a:pt x="3239" y="26"/>
                    </a:cubicBezTo>
                    <a:cubicBezTo>
                      <a:pt x="1667" y="204"/>
                      <a:pt x="381" y="1466"/>
                      <a:pt x="191" y="3026"/>
                    </a:cubicBezTo>
                    <a:cubicBezTo>
                      <a:pt x="0" y="4526"/>
                      <a:pt x="786" y="5979"/>
                      <a:pt x="2155" y="6610"/>
                    </a:cubicBezTo>
                    <a:cubicBezTo>
                      <a:pt x="2358" y="6705"/>
                      <a:pt x="2477" y="6931"/>
                      <a:pt x="2477" y="7146"/>
                    </a:cubicBezTo>
                    <a:lnTo>
                      <a:pt x="2477" y="8324"/>
                    </a:lnTo>
                    <a:cubicBezTo>
                      <a:pt x="2477" y="8574"/>
                      <a:pt x="2643" y="8789"/>
                      <a:pt x="2870" y="8860"/>
                    </a:cubicBezTo>
                    <a:lnTo>
                      <a:pt x="2870" y="9098"/>
                    </a:lnTo>
                    <a:cubicBezTo>
                      <a:pt x="2870" y="9408"/>
                      <a:pt x="3120" y="9670"/>
                      <a:pt x="3429" y="9670"/>
                    </a:cubicBezTo>
                    <a:lnTo>
                      <a:pt x="3822" y="9670"/>
                    </a:lnTo>
                    <a:cubicBezTo>
                      <a:pt x="4132" y="9670"/>
                      <a:pt x="4382" y="9408"/>
                      <a:pt x="4382" y="9098"/>
                    </a:cubicBezTo>
                    <a:lnTo>
                      <a:pt x="4382" y="8860"/>
                    </a:lnTo>
                    <a:cubicBezTo>
                      <a:pt x="4608" y="8789"/>
                      <a:pt x="4775" y="8574"/>
                      <a:pt x="4775" y="8324"/>
                    </a:cubicBezTo>
                    <a:lnTo>
                      <a:pt x="4775" y="7146"/>
                    </a:lnTo>
                    <a:cubicBezTo>
                      <a:pt x="4775" y="6931"/>
                      <a:pt x="4906" y="6717"/>
                      <a:pt x="5096" y="6610"/>
                    </a:cubicBezTo>
                    <a:cubicBezTo>
                      <a:pt x="5691" y="6336"/>
                      <a:pt x="6191" y="5895"/>
                      <a:pt x="6549" y="5348"/>
                    </a:cubicBezTo>
                    <a:cubicBezTo>
                      <a:pt x="6906" y="4788"/>
                      <a:pt x="7096" y="4133"/>
                      <a:pt x="7096" y="3455"/>
                    </a:cubicBezTo>
                    <a:cubicBezTo>
                      <a:pt x="7108" y="2490"/>
                      <a:pt x="6680" y="1538"/>
                      <a:pt x="5953" y="883"/>
                    </a:cubicBezTo>
                    <a:cubicBezTo>
                      <a:pt x="5309" y="310"/>
                      <a:pt x="4506" y="1"/>
                      <a:pt x="365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Google Shape;10132;p57">
                <a:extLst>
                  <a:ext uri="{FF2B5EF4-FFF2-40B4-BE49-F238E27FC236}">
                    <a16:creationId xmlns:a16="http://schemas.microsoft.com/office/drawing/2014/main" id="{F67AF24D-CAE8-479B-B4B3-4EA5AA7074EC}"/>
                  </a:ext>
                </a:extLst>
              </p:cNvPr>
              <p:cNvSpPr/>
              <p:nvPr/>
            </p:nvSpPr>
            <p:spPr>
              <a:xfrm>
                <a:off x="5885938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80" y="1"/>
                    </a:moveTo>
                    <a:cubicBezTo>
                      <a:pt x="72" y="1"/>
                      <a:pt x="1" y="72"/>
                      <a:pt x="1" y="179"/>
                    </a:cubicBezTo>
                    <a:cubicBezTo>
                      <a:pt x="1" y="275"/>
                      <a:pt x="72" y="358"/>
                      <a:pt x="180" y="358"/>
                    </a:cubicBezTo>
                    <a:lnTo>
                      <a:pt x="1346" y="358"/>
                    </a:lnTo>
                    <a:cubicBezTo>
                      <a:pt x="1442" y="358"/>
                      <a:pt x="1525" y="275"/>
                      <a:pt x="1525" y="179"/>
                    </a:cubicBezTo>
                    <a:cubicBezTo>
                      <a:pt x="1525" y="72"/>
                      <a:pt x="1430" y="1"/>
                      <a:pt x="134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Google Shape;10133;p57">
                <a:extLst>
                  <a:ext uri="{FF2B5EF4-FFF2-40B4-BE49-F238E27FC236}">
                    <a16:creationId xmlns:a16="http://schemas.microsoft.com/office/drawing/2014/main" id="{8D6EDCC8-D9B1-4E51-B414-AD5F06CF02A8}"/>
                  </a:ext>
                </a:extLst>
              </p:cNvPr>
              <p:cNvSpPr/>
              <p:nvPr/>
            </p:nvSpPr>
            <p:spPr>
              <a:xfrm>
                <a:off x="5463762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79" y="1"/>
                    </a:moveTo>
                    <a:cubicBezTo>
                      <a:pt x="72" y="1"/>
                      <a:pt x="0" y="72"/>
                      <a:pt x="0" y="179"/>
                    </a:cubicBezTo>
                    <a:cubicBezTo>
                      <a:pt x="0" y="275"/>
                      <a:pt x="72" y="358"/>
                      <a:pt x="179" y="358"/>
                    </a:cubicBezTo>
                    <a:lnTo>
                      <a:pt x="1334" y="358"/>
                    </a:lnTo>
                    <a:cubicBezTo>
                      <a:pt x="1441" y="358"/>
                      <a:pt x="1512" y="275"/>
                      <a:pt x="1512" y="179"/>
                    </a:cubicBezTo>
                    <a:cubicBezTo>
                      <a:pt x="1524" y="72"/>
                      <a:pt x="1441" y="1"/>
                      <a:pt x="13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Google Shape;10134;p57">
                <a:extLst>
                  <a:ext uri="{FF2B5EF4-FFF2-40B4-BE49-F238E27FC236}">
                    <a16:creationId xmlns:a16="http://schemas.microsoft.com/office/drawing/2014/main" id="{047D8D13-C940-4E12-90AF-7B828581A2AA}"/>
                  </a:ext>
                </a:extLst>
              </p:cNvPr>
              <p:cNvSpPr/>
              <p:nvPr/>
            </p:nvSpPr>
            <p:spPr>
              <a:xfrm>
                <a:off x="5701288" y="5502505"/>
                <a:ext cx="16279" cy="68609"/>
              </a:xfrm>
              <a:custGeom>
                <a:avLst/>
                <a:gdLst/>
                <a:ahLst/>
                <a:cxnLst/>
                <a:rect l="l" t="t" r="r" b="b"/>
                <a:pathLst>
                  <a:path w="359" h="1513" extrusionOk="0">
                    <a:moveTo>
                      <a:pt x="180" y="0"/>
                    </a:moveTo>
                    <a:cubicBezTo>
                      <a:pt x="72" y="0"/>
                      <a:pt x="1" y="72"/>
                      <a:pt x="1" y="179"/>
                    </a:cubicBezTo>
                    <a:lnTo>
                      <a:pt x="1" y="1334"/>
                    </a:lnTo>
                    <a:cubicBezTo>
                      <a:pt x="1" y="1441"/>
                      <a:pt x="72" y="1512"/>
                      <a:pt x="180" y="1512"/>
                    </a:cubicBezTo>
                    <a:cubicBezTo>
                      <a:pt x="275" y="1512"/>
                      <a:pt x="358" y="1441"/>
                      <a:pt x="358" y="1334"/>
                    </a:cubicBezTo>
                    <a:lnTo>
                      <a:pt x="358" y="179"/>
                    </a:lnTo>
                    <a:cubicBezTo>
                      <a:pt x="358" y="72"/>
                      <a:pt x="275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Google Shape;10135;p57">
                <a:extLst>
                  <a:ext uri="{FF2B5EF4-FFF2-40B4-BE49-F238E27FC236}">
                    <a16:creationId xmlns:a16="http://schemas.microsoft.com/office/drawing/2014/main" id="{D9E90294-8DEA-4721-B66F-C5F688052AEC}"/>
                  </a:ext>
                </a:extLst>
              </p:cNvPr>
              <p:cNvSpPr/>
              <p:nvPr/>
            </p:nvSpPr>
            <p:spPr>
              <a:xfrm>
                <a:off x="5791482" y="5557375"/>
                <a:ext cx="32423" cy="39633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74" extrusionOk="0">
                    <a:moveTo>
                      <a:pt x="513" y="0"/>
                    </a:moveTo>
                    <a:cubicBezTo>
                      <a:pt x="451" y="0"/>
                      <a:pt x="387" y="27"/>
                      <a:pt x="346" y="76"/>
                    </a:cubicBezTo>
                    <a:lnTo>
                      <a:pt x="48" y="588"/>
                    </a:lnTo>
                    <a:cubicBezTo>
                      <a:pt x="0" y="671"/>
                      <a:pt x="24" y="778"/>
                      <a:pt x="107" y="838"/>
                    </a:cubicBezTo>
                    <a:cubicBezTo>
                      <a:pt x="131" y="850"/>
                      <a:pt x="167" y="874"/>
                      <a:pt x="191" y="874"/>
                    </a:cubicBezTo>
                    <a:cubicBezTo>
                      <a:pt x="250" y="874"/>
                      <a:pt x="310" y="838"/>
                      <a:pt x="358" y="778"/>
                    </a:cubicBezTo>
                    <a:lnTo>
                      <a:pt x="655" y="278"/>
                    </a:lnTo>
                    <a:cubicBezTo>
                      <a:pt x="715" y="171"/>
                      <a:pt x="691" y="64"/>
                      <a:pt x="596" y="16"/>
                    </a:cubicBezTo>
                    <a:cubicBezTo>
                      <a:pt x="570" y="5"/>
                      <a:pt x="542" y="0"/>
                      <a:pt x="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Google Shape;10136;p57">
                <a:extLst>
                  <a:ext uri="{FF2B5EF4-FFF2-40B4-BE49-F238E27FC236}">
                    <a16:creationId xmlns:a16="http://schemas.microsoft.com/office/drawing/2014/main" id="{DD02263B-FAAE-4D97-8CE8-16CC868AD08C}"/>
                  </a:ext>
                </a:extLst>
              </p:cNvPr>
              <p:cNvSpPr/>
              <p:nvPr/>
            </p:nvSpPr>
            <p:spPr>
              <a:xfrm>
                <a:off x="5593861" y="5899424"/>
                <a:ext cx="32423" cy="39360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68" extrusionOk="0">
                    <a:moveTo>
                      <a:pt x="507" y="0"/>
                    </a:moveTo>
                    <a:cubicBezTo>
                      <a:pt x="444" y="0"/>
                      <a:pt x="387" y="33"/>
                      <a:pt x="346" y="82"/>
                    </a:cubicBezTo>
                    <a:lnTo>
                      <a:pt x="48" y="594"/>
                    </a:lnTo>
                    <a:cubicBezTo>
                      <a:pt x="1" y="677"/>
                      <a:pt x="24" y="784"/>
                      <a:pt x="108" y="844"/>
                    </a:cubicBezTo>
                    <a:cubicBezTo>
                      <a:pt x="132" y="855"/>
                      <a:pt x="155" y="867"/>
                      <a:pt x="191" y="867"/>
                    </a:cubicBezTo>
                    <a:cubicBezTo>
                      <a:pt x="251" y="867"/>
                      <a:pt x="310" y="844"/>
                      <a:pt x="358" y="784"/>
                    </a:cubicBezTo>
                    <a:lnTo>
                      <a:pt x="655" y="272"/>
                    </a:lnTo>
                    <a:cubicBezTo>
                      <a:pt x="715" y="189"/>
                      <a:pt x="679" y="82"/>
                      <a:pt x="596" y="22"/>
                    </a:cubicBezTo>
                    <a:cubicBezTo>
                      <a:pt x="566" y="7"/>
                      <a:pt x="536" y="0"/>
                      <a:pt x="50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Google Shape;10137;p57">
                <a:extLst>
                  <a:ext uri="{FF2B5EF4-FFF2-40B4-BE49-F238E27FC236}">
                    <a16:creationId xmlns:a16="http://schemas.microsoft.com/office/drawing/2014/main" id="{00A0DC16-D216-47E6-BA23-A5481C2EDD93}"/>
                  </a:ext>
                </a:extLst>
              </p:cNvPr>
              <p:cNvSpPr/>
              <p:nvPr/>
            </p:nvSpPr>
            <p:spPr>
              <a:xfrm>
                <a:off x="5593861" y="5556739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13" y="1"/>
                    </a:moveTo>
                    <a:cubicBezTo>
                      <a:pt x="181" y="1"/>
                      <a:pt x="148" y="10"/>
                      <a:pt x="120" y="30"/>
                    </a:cubicBezTo>
                    <a:cubicBezTo>
                      <a:pt x="24" y="78"/>
                      <a:pt x="1" y="197"/>
                      <a:pt x="60" y="292"/>
                    </a:cubicBezTo>
                    <a:lnTo>
                      <a:pt x="358" y="792"/>
                    </a:lnTo>
                    <a:cubicBezTo>
                      <a:pt x="382" y="852"/>
                      <a:pt x="441" y="888"/>
                      <a:pt x="525" y="888"/>
                    </a:cubicBezTo>
                    <a:cubicBezTo>
                      <a:pt x="548" y="888"/>
                      <a:pt x="584" y="864"/>
                      <a:pt x="608" y="852"/>
                    </a:cubicBezTo>
                    <a:cubicBezTo>
                      <a:pt x="679" y="792"/>
                      <a:pt x="715" y="685"/>
                      <a:pt x="667" y="602"/>
                    </a:cubicBezTo>
                    <a:lnTo>
                      <a:pt x="370" y="90"/>
                    </a:lnTo>
                    <a:cubicBezTo>
                      <a:pt x="338" y="35"/>
                      <a:pt x="276" y="1"/>
                      <a:pt x="2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Google Shape;10138;p57">
                <a:extLst>
                  <a:ext uri="{FF2B5EF4-FFF2-40B4-BE49-F238E27FC236}">
                    <a16:creationId xmlns:a16="http://schemas.microsoft.com/office/drawing/2014/main" id="{FAD35447-FD44-4340-8486-6432F32C08CC}"/>
                  </a:ext>
                </a:extLst>
              </p:cNvPr>
              <p:cNvSpPr/>
              <p:nvPr/>
            </p:nvSpPr>
            <p:spPr>
              <a:xfrm>
                <a:off x="5791482" y="5899605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21" y="0"/>
                    </a:moveTo>
                    <a:cubicBezTo>
                      <a:pt x="187" y="0"/>
                      <a:pt x="152" y="10"/>
                      <a:pt x="119" y="30"/>
                    </a:cubicBezTo>
                    <a:cubicBezTo>
                      <a:pt x="24" y="78"/>
                      <a:pt x="0" y="197"/>
                      <a:pt x="60" y="292"/>
                    </a:cubicBezTo>
                    <a:lnTo>
                      <a:pt x="358" y="792"/>
                    </a:lnTo>
                    <a:cubicBezTo>
                      <a:pt x="393" y="851"/>
                      <a:pt x="453" y="887"/>
                      <a:pt x="524" y="887"/>
                    </a:cubicBezTo>
                    <a:cubicBezTo>
                      <a:pt x="548" y="887"/>
                      <a:pt x="584" y="863"/>
                      <a:pt x="608" y="851"/>
                    </a:cubicBezTo>
                    <a:cubicBezTo>
                      <a:pt x="691" y="792"/>
                      <a:pt x="715" y="673"/>
                      <a:pt x="667" y="601"/>
                    </a:cubicBezTo>
                    <a:lnTo>
                      <a:pt x="369" y="89"/>
                    </a:lnTo>
                    <a:cubicBezTo>
                      <a:pt x="346" y="35"/>
                      <a:pt x="286" y="0"/>
                      <a:pt x="2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Google Shape;10139;p57">
                <a:extLst>
                  <a:ext uri="{FF2B5EF4-FFF2-40B4-BE49-F238E27FC236}">
                    <a16:creationId xmlns:a16="http://schemas.microsoft.com/office/drawing/2014/main" id="{D00CCF70-B3B0-4872-8AE7-BCB776311F07}"/>
                  </a:ext>
                </a:extLst>
              </p:cNvPr>
              <p:cNvSpPr/>
              <p:nvPr/>
            </p:nvSpPr>
            <p:spPr>
              <a:xfrm>
                <a:off x="5859501" y="5831947"/>
                <a:ext cx="42172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30" h="665" extrusionOk="0">
                    <a:moveTo>
                      <a:pt x="215" y="0"/>
                    </a:moveTo>
                    <a:cubicBezTo>
                      <a:pt x="152" y="0"/>
                      <a:pt x="89" y="32"/>
                      <a:pt x="48" y="81"/>
                    </a:cubicBezTo>
                    <a:cubicBezTo>
                      <a:pt x="1" y="177"/>
                      <a:pt x="36" y="272"/>
                      <a:pt x="108" y="331"/>
                    </a:cubicBezTo>
                    <a:lnTo>
                      <a:pt x="608" y="629"/>
                    </a:lnTo>
                    <a:cubicBezTo>
                      <a:pt x="643" y="653"/>
                      <a:pt x="667" y="665"/>
                      <a:pt x="703" y="665"/>
                    </a:cubicBezTo>
                    <a:cubicBezTo>
                      <a:pt x="763" y="665"/>
                      <a:pt x="822" y="629"/>
                      <a:pt x="870" y="569"/>
                    </a:cubicBezTo>
                    <a:cubicBezTo>
                      <a:pt x="929" y="486"/>
                      <a:pt x="893" y="367"/>
                      <a:pt x="810" y="319"/>
                    </a:cubicBezTo>
                    <a:lnTo>
                      <a:pt x="298" y="22"/>
                    </a:lnTo>
                    <a:cubicBezTo>
                      <a:pt x="272" y="7"/>
                      <a:pt x="244" y="0"/>
                      <a:pt x="2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Google Shape;10140;p57">
                <a:extLst>
                  <a:ext uri="{FF2B5EF4-FFF2-40B4-BE49-F238E27FC236}">
                    <a16:creationId xmlns:a16="http://schemas.microsoft.com/office/drawing/2014/main" id="{D587F7EF-1291-43E3-86D6-D2361BCB7760}"/>
                  </a:ext>
                </a:extLst>
              </p:cNvPr>
              <p:cNvSpPr/>
              <p:nvPr/>
            </p:nvSpPr>
            <p:spPr>
              <a:xfrm>
                <a:off x="5516681" y="5634328"/>
                <a:ext cx="42126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65" extrusionOk="0">
                    <a:moveTo>
                      <a:pt x="214" y="0"/>
                    </a:moveTo>
                    <a:cubicBezTo>
                      <a:pt x="152" y="0"/>
                      <a:pt x="89" y="33"/>
                      <a:pt x="48" y="82"/>
                    </a:cubicBezTo>
                    <a:cubicBezTo>
                      <a:pt x="0" y="165"/>
                      <a:pt x="36" y="272"/>
                      <a:pt x="107" y="332"/>
                    </a:cubicBezTo>
                    <a:lnTo>
                      <a:pt x="619" y="629"/>
                    </a:lnTo>
                    <a:cubicBezTo>
                      <a:pt x="643" y="641"/>
                      <a:pt x="667" y="665"/>
                      <a:pt x="703" y="665"/>
                    </a:cubicBezTo>
                    <a:cubicBezTo>
                      <a:pt x="762" y="665"/>
                      <a:pt x="822" y="629"/>
                      <a:pt x="869" y="570"/>
                    </a:cubicBezTo>
                    <a:cubicBezTo>
                      <a:pt x="929" y="463"/>
                      <a:pt x="893" y="367"/>
                      <a:pt x="810" y="320"/>
                    </a:cubicBezTo>
                    <a:lnTo>
                      <a:pt x="298" y="22"/>
                    </a:lnTo>
                    <a:cubicBezTo>
                      <a:pt x="272" y="7"/>
                      <a:pt x="243" y="0"/>
                      <a:pt x="21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Google Shape;10141;p57">
                <a:extLst>
                  <a:ext uri="{FF2B5EF4-FFF2-40B4-BE49-F238E27FC236}">
                    <a16:creationId xmlns:a16="http://schemas.microsoft.com/office/drawing/2014/main" id="{3EF12144-EF78-40C8-8111-9AFDA0E97BBC}"/>
                  </a:ext>
                </a:extLst>
              </p:cNvPr>
              <p:cNvSpPr/>
              <p:nvPr/>
            </p:nvSpPr>
            <p:spPr>
              <a:xfrm>
                <a:off x="5858957" y="5634509"/>
                <a:ext cx="4271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73" extrusionOk="0">
                    <a:moveTo>
                      <a:pt x="725" y="0"/>
                    </a:moveTo>
                    <a:cubicBezTo>
                      <a:pt x="693" y="0"/>
                      <a:pt x="660" y="10"/>
                      <a:pt x="632" y="30"/>
                    </a:cubicBezTo>
                    <a:lnTo>
                      <a:pt x="120" y="328"/>
                    </a:lnTo>
                    <a:cubicBezTo>
                      <a:pt x="36" y="375"/>
                      <a:pt x="1" y="494"/>
                      <a:pt x="60" y="578"/>
                    </a:cubicBezTo>
                    <a:cubicBezTo>
                      <a:pt x="96" y="637"/>
                      <a:pt x="155" y="673"/>
                      <a:pt x="227" y="673"/>
                    </a:cubicBezTo>
                    <a:cubicBezTo>
                      <a:pt x="251" y="673"/>
                      <a:pt x="286" y="661"/>
                      <a:pt x="310" y="637"/>
                    </a:cubicBezTo>
                    <a:lnTo>
                      <a:pt x="822" y="340"/>
                    </a:lnTo>
                    <a:cubicBezTo>
                      <a:pt x="905" y="280"/>
                      <a:pt x="941" y="161"/>
                      <a:pt x="882" y="89"/>
                    </a:cubicBezTo>
                    <a:cubicBezTo>
                      <a:pt x="850" y="35"/>
                      <a:pt x="788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Google Shape;10142;p57">
                <a:extLst>
                  <a:ext uri="{FF2B5EF4-FFF2-40B4-BE49-F238E27FC236}">
                    <a16:creationId xmlns:a16="http://schemas.microsoft.com/office/drawing/2014/main" id="{DC552FB1-8FC2-492C-90E8-49713B4B5F00}"/>
                  </a:ext>
                </a:extLst>
              </p:cNvPr>
              <p:cNvSpPr/>
              <p:nvPr/>
            </p:nvSpPr>
            <p:spPr>
              <a:xfrm>
                <a:off x="5516681" y="5832129"/>
                <a:ext cx="4212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73" extrusionOk="0">
                    <a:moveTo>
                      <a:pt x="725" y="0"/>
                    </a:moveTo>
                    <a:cubicBezTo>
                      <a:pt x="692" y="0"/>
                      <a:pt x="660" y="9"/>
                      <a:pt x="631" y="30"/>
                    </a:cubicBezTo>
                    <a:lnTo>
                      <a:pt x="119" y="327"/>
                    </a:lnTo>
                    <a:cubicBezTo>
                      <a:pt x="36" y="375"/>
                      <a:pt x="0" y="494"/>
                      <a:pt x="60" y="589"/>
                    </a:cubicBezTo>
                    <a:cubicBezTo>
                      <a:pt x="95" y="649"/>
                      <a:pt x="155" y="673"/>
                      <a:pt x="226" y="673"/>
                    </a:cubicBezTo>
                    <a:cubicBezTo>
                      <a:pt x="262" y="673"/>
                      <a:pt x="286" y="661"/>
                      <a:pt x="322" y="649"/>
                    </a:cubicBezTo>
                    <a:lnTo>
                      <a:pt x="822" y="351"/>
                    </a:lnTo>
                    <a:cubicBezTo>
                      <a:pt x="893" y="292"/>
                      <a:pt x="929" y="173"/>
                      <a:pt x="881" y="89"/>
                    </a:cubicBezTo>
                    <a:cubicBezTo>
                      <a:pt x="850" y="34"/>
                      <a:pt x="787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56926-0B32-C96F-95E6-E5EC709C5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D36A6BE7-370A-4A90-B1C9-7E528C9655DD}"/>
              </a:ext>
            </a:extLst>
          </p:cNvPr>
          <p:cNvGrpSpPr/>
          <p:nvPr/>
        </p:nvGrpSpPr>
        <p:grpSpPr>
          <a:xfrm>
            <a:off x="10931492" y="2124481"/>
            <a:ext cx="289650" cy="257508"/>
            <a:chOff x="10931492" y="2340619"/>
            <a:chExt cx="289650" cy="257508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5CF467FB-BBA3-49C5-BFD5-1F35A4E11036}"/>
                </a:ext>
              </a:extLst>
            </p:cNvPr>
            <p:cNvSpPr>
              <a:spLocks/>
            </p:cNvSpPr>
            <p:nvPr/>
          </p:nvSpPr>
          <p:spPr>
            <a:xfrm>
              <a:off x="10931492" y="2340619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94" name="Target Graphic 45 (2)">
              <a:extLst>
                <a:ext uri="{FF2B5EF4-FFF2-40B4-BE49-F238E27FC236}">
                  <a16:creationId xmlns:a16="http://schemas.microsoft.com/office/drawing/2014/main" id="{A9C83F15-DAAD-4EF6-8ACD-2A41CC55CC54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0988222" y="2381277"/>
              <a:ext cx="176191" cy="176191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E251498-FF77-4F75-A773-4442B414B349}"/>
              </a:ext>
            </a:extLst>
          </p:cNvPr>
          <p:cNvGrpSpPr/>
          <p:nvPr/>
        </p:nvGrpSpPr>
        <p:grpSpPr>
          <a:xfrm>
            <a:off x="988652" y="4017678"/>
            <a:ext cx="6767235" cy="1455358"/>
            <a:chOff x="7908293" y="2332107"/>
            <a:chExt cx="3312000" cy="1269780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6B59AEF-8C95-429D-95D2-445CBD85E983}"/>
                </a:ext>
              </a:extLst>
            </p:cNvPr>
            <p:cNvGrpSpPr/>
            <p:nvPr/>
          </p:nvGrpSpPr>
          <p:grpSpPr>
            <a:xfrm>
              <a:off x="7908293" y="2332107"/>
              <a:ext cx="3312000" cy="1269780"/>
              <a:chOff x="603685" y="1651115"/>
              <a:chExt cx="6012001" cy="1633821"/>
            </a:xfrm>
          </p:grpSpPr>
          <p:sp>
            <p:nvSpPr>
              <p:cNvPr id="96" name="TextBox 4">
                <a:extLst>
                  <a:ext uri="{FF2B5EF4-FFF2-40B4-BE49-F238E27FC236}">
                    <a16:creationId xmlns:a16="http://schemas.microsoft.com/office/drawing/2014/main" id="{F9E38435-8F28-4C3A-B13E-1E37E00C2D02}"/>
                  </a:ext>
                </a:extLst>
              </p:cNvPr>
              <p:cNvSpPr txBox="1">
                <a:spLocks noChangeArrowheads="1"/>
              </p:cNvSpPr>
              <p:nvPr userDrawn="1"/>
            </p:nvSpPr>
            <p:spPr bwMode="auto">
              <a:xfrm>
                <a:off x="603685" y="1655603"/>
                <a:ext cx="6011999" cy="162933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144000" tIns="108000" rIns="216000" bIns="14400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270000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•"/>
                  <a:tabLst>
                    <a:tab pos="270000" algn="l"/>
                  </a:tabLst>
                  <a:defRPr sz="1400" kern="0"/>
                </a:lvl1pPr>
                <a:lvl2pPr marL="540000" lvl="1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Font typeface="Calibri" panose="020F0502020204030204" pitchFamily="34" charset="0"/>
                  <a:buChar char="‒"/>
                  <a:tabLst>
                    <a:tab pos="270000" algn="l"/>
                  </a:tabLst>
                  <a:defRPr sz="1400" kern="0"/>
                </a:lvl2pPr>
                <a:lvl3pPr marL="810000" lvl="2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Courier New" panose="02070309020205020404" pitchFamily="49" charset="0"/>
                  <a:buChar char="o"/>
                  <a:tabLst>
                    <a:tab pos="270000" algn="l"/>
                  </a:tabLst>
                  <a:defRPr sz="1400" kern="0"/>
                </a:lvl3pPr>
                <a:lvl4pPr marL="1080000" lvl="3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Wingdings" panose="05000000000000000000" pitchFamily="2" charset="2"/>
                  <a:buChar char="§"/>
                  <a:tabLst>
                    <a:tab pos="270000" algn="l"/>
                  </a:tabLst>
                  <a:defRPr sz="1400" kern="0"/>
                </a:lvl4pPr>
                <a:lvl5pPr marL="810000" indent="0" defTabSz="89535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rgbClr val="18345E"/>
                  </a:buClr>
                  <a:buFont typeface="Wingdings" panose="05000000000000000000" pitchFamily="2" charset="2"/>
                  <a:buNone/>
                  <a:defRPr sz="1400" baseline="0"/>
                </a:lvl5pPr>
                <a:lvl6pPr marL="2152650" indent="-361950" fontAlgn="base">
                  <a:spcBef>
                    <a:spcPct val="20000"/>
                  </a:spcBef>
                  <a:spcAft>
                    <a:spcPct val="0"/>
                  </a:spcAft>
                  <a:buFont typeface="Calibri" pitchFamily="34" charset="0"/>
                  <a:buChar char="­"/>
                  <a:defRPr sz="1400"/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9pPr>
              </a:lstStyle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utcomes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Participants: 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Improved participant outcomes through improved ability to identify risk and intervene. Improved satisfaction when dealing with the Commission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Providers: 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Information provided </a:t>
                </a:r>
                <a:r>
                  <a:rPr kumimoji="0" lang="en-GB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once, less regulatory</a:t>
                </a:r>
                <a:r>
                  <a:rPr kumimoji="0" lang="en-GB" sz="1000" b="0" i="0" u="none" strike="noStrike" kern="0" cap="none" spc="0" normalizeH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 burden</a:t>
                </a: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Commission staff: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 Improved productivity and employee experience</a:t>
                </a:r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16C8DB7-CFE4-433F-B545-0905644562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685" y="1651115"/>
                <a:ext cx="6012001" cy="0"/>
              </a:xfrm>
              <a:prstGeom prst="line">
                <a:avLst/>
              </a:prstGeom>
              <a:ln w="254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BF8EF5F5-6DE7-402E-A412-E8C53B79EA2B}"/>
                </a:ext>
              </a:extLst>
            </p:cNvPr>
            <p:cNvGrpSpPr/>
            <p:nvPr/>
          </p:nvGrpSpPr>
          <p:grpSpPr>
            <a:xfrm>
              <a:off x="10927466" y="2334500"/>
              <a:ext cx="289650" cy="257508"/>
              <a:chOff x="10962167" y="2469373"/>
              <a:chExt cx="289650" cy="257508"/>
            </a:xfrm>
          </p:grpSpPr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6F9ACC9C-32A1-4663-B108-708FC57FAC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962167" y="2469373"/>
                <a:ext cx="289650" cy="25750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29" name="Handshake Google Shape;13584;p63">
                <a:extLst>
                  <a:ext uri="{FF2B5EF4-FFF2-40B4-BE49-F238E27FC236}">
                    <a16:creationId xmlns:a16="http://schemas.microsoft.com/office/drawing/2014/main" id="{6E6DB1FC-A402-4D01-A5B2-164830AB076A}"/>
                  </a:ext>
                </a:extLst>
              </p:cNvPr>
              <p:cNvGrpSpPr>
                <a:grpSpLocks/>
              </p:cNvGrpSpPr>
              <p:nvPr>
                <p:custDataLst>
                  <p:tags r:id="rId4"/>
                </p:custDataLst>
              </p:nvPr>
            </p:nvGrpSpPr>
            <p:grpSpPr>
              <a:xfrm>
                <a:off x="11022155" y="2511137"/>
                <a:ext cx="180696" cy="153070"/>
                <a:chOff x="3693404" y="2679504"/>
                <a:chExt cx="436113" cy="369438"/>
              </a:xfrm>
              <a:solidFill>
                <a:srgbClr val="FFFFFF"/>
              </a:solidFill>
            </p:grpSpPr>
            <p:sp>
              <p:nvSpPr>
                <p:cNvPr id="131" name="Google Shape;13585;p63">
                  <a:extLst>
                    <a:ext uri="{FF2B5EF4-FFF2-40B4-BE49-F238E27FC236}">
                      <a16:creationId xmlns:a16="http://schemas.microsoft.com/office/drawing/2014/main" id="{A9F8ACED-8273-4187-9CB8-C33AEBB8DA10}"/>
                    </a:ext>
                  </a:extLst>
                </p:cNvPr>
                <p:cNvSpPr/>
                <p:nvPr/>
              </p:nvSpPr>
              <p:spPr>
                <a:xfrm>
                  <a:off x="3693404" y="2698049"/>
                  <a:ext cx="436113" cy="35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6" h="8268" extrusionOk="0">
                      <a:moveTo>
                        <a:pt x="6251" y="2267"/>
                      </a:moveTo>
                      <a:lnTo>
                        <a:pt x="7061" y="2541"/>
                      </a:lnTo>
                      <a:cubicBezTo>
                        <a:pt x="7073" y="2544"/>
                        <a:pt x="7086" y="2545"/>
                        <a:pt x="7098" y="2545"/>
                      </a:cubicBezTo>
                      <a:cubicBezTo>
                        <a:pt x="7136" y="2545"/>
                        <a:pt x="7174" y="2532"/>
                        <a:pt x="7192" y="2505"/>
                      </a:cubicBezTo>
                      <a:lnTo>
                        <a:pt x="7454" y="2314"/>
                      </a:lnTo>
                      <a:lnTo>
                        <a:pt x="9240" y="4660"/>
                      </a:lnTo>
                      <a:lnTo>
                        <a:pt x="8978" y="4874"/>
                      </a:lnTo>
                      <a:cubicBezTo>
                        <a:pt x="8966" y="4862"/>
                        <a:pt x="8942" y="4839"/>
                        <a:pt x="8930" y="4839"/>
                      </a:cubicBezTo>
                      <a:lnTo>
                        <a:pt x="5811" y="3148"/>
                      </a:lnTo>
                      <a:lnTo>
                        <a:pt x="5930" y="2969"/>
                      </a:lnTo>
                      <a:cubicBezTo>
                        <a:pt x="5978" y="2898"/>
                        <a:pt x="5966" y="2803"/>
                        <a:pt x="5894" y="2755"/>
                      </a:cubicBezTo>
                      <a:cubicBezTo>
                        <a:pt x="5864" y="2742"/>
                        <a:pt x="5834" y="2735"/>
                        <a:pt x="5806" y="2735"/>
                      </a:cubicBezTo>
                      <a:cubicBezTo>
                        <a:pt x="5756" y="2735"/>
                        <a:pt x="5710" y="2757"/>
                        <a:pt x="5680" y="2803"/>
                      </a:cubicBezTo>
                      <a:lnTo>
                        <a:pt x="5358" y="3326"/>
                      </a:lnTo>
                      <a:cubicBezTo>
                        <a:pt x="5335" y="3350"/>
                        <a:pt x="5323" y="3374"/>
                        <a:pt x="5323" y="3398"/>
                      </a:cubicBezTo>
                      <a:lnTo>
                        <a:pt x="5323" y="4684"/>
                      </a:lnTo>
                      <a:cubicBezTo>
                        <a:pt x="5323" y="4946"/>
                        <a:pt x="5097" y="5172"/>
                        <a:pt x="4835" y="5172"/>
                      </a:cubicBezTo>
                      <a:cubicBezTo>
                        <a:pt x="4561" y="5172"/>
                        <a:pt x="4346" y="4946"/>
                        <a:pt x="4346" y="4684"/>
                      </a:cubicBezTo>
                      <a:lnTo>
                        <a:pt x="4346" y="3410"/>
                      </a:lnTo>
                      <a:lnTo>
                        <a:pt x="4620" y="2267"/>
                      </a:lnTo>
                      <a:close/>
                      <a:moveTo>
                        <a:pt x="2680" y="1767"/>
                      </a:moveTo>
                      <a:lnTo>
                        <a:pt x="2918" y="1898"/>
                      </a:lnTo>
                      <a:lnTo>
                        <a:pt x="941" y="5303"/>
                      </a:lnTo>
                      <a:lnTo>
                        <a:pt x="703" y="5172"/>
                      </a:lnTo>
                      <a:lnTo>
                        <a:pt x="2680" y="1767"/>
                      </a:lnTo>
                      <a:close/>
                      <a:moveTo>
                        <a:pt x="3180" y="4743"/>
                      </a:moveTo>
                      <a:cubicBezTo>
                        <a:pt x="3287" y="4743"/>
                        <a:pt x="3370" y="4779"/>
                        <a:pt x="3442" y="4874"/>
                      </a:cubicBezTo>
                      <a:cubicBezTo>
                        <a:pt x="3561" y="5017"/>
                        <a:pt x="3525" y="5231"/>
                        <a:pt x="3370" y="5339"/>
                      </a:cubicBezTo>
                      <a:lnTo>
                        <a:pt x="2322" y="6112"/>
                      </a:lnTo>
                      <a:cubicBezTo>
                        <a:pt x="2262" y="6150"/>
                        <a:pt x="2194" y="6169"/>
                        <a:pt x="2127" y="6169"/>
                      </a:cubicBezTo>
                      <a:cubicBezTo>
                        <a:pt x="2023" y="6169"/>
                        <a:pt x="1923" y="6123"/>
                        <a:pt x="1858" y="6029"/>
                      </a:cubicBezTo>
                      <a:cubicBezTo>
                        <a:pt x="1751" y="5886"/>
                        <a:pt x="1787" y="5672"/>
                        <a:pt x="1929" y="5565"/>
                      </a:cubicBezTo>
                      <a:lnTo>
                        <a:pt x="2989" y="4803"/>
                      </a:lnTo>
                      <a:cubicBezTo>
                        <a:pt x="3049" y="4755"/>
                        <a:pt x="3120" y="4743"/>
                        <a:pt x="3180" y="4743"/>
                      </a:cubicBezTo>
                      <a:close/>
                      <a:moveTo>
                        <a:pt x="3775" y="5493"/>
                      </a:moveTo>
                      <a:cubicBezTo>
                        <a:pt x="3870" y="5493"/>
                        <a:pt x="3954" y="5553"/>
                        <a:pt x="4013" y="5636"/>
                      </a:cubicBezTo>
                      <a:cubicBezTo>
                        <a:pt x="4132" y="5779"/>
                        <a:pt x="4085" y="5993"/>
                        <a:pt x="3942" y="6089"/>
                      </a:cubicBezTo>
                      <a:lnTo>
                        <a:pt x="3132" y="6708"/>
                      </a:lnTo>
                      <a:cubicBezTo>
                        <a:pt x="3076" y="6745"/>
                        <a:pt x="3013" y="6764"/>
                        <a:pt x="2949" y="6764"/>
                      </a:cubicBezTo>
                      <a:cubicBezTo>
                        <a:pt x="2851" y="6764"/>
                        <a:pt x="2752" y="6718"/>
                        <a:pt x="2680" y="6624"/>
                      </a:cubicBezTo>
                      <a:cubicBezTo>
                        <a:pt x="2572" y="6482"/>
                        <a:pt x="2596" y="6255"/>
                        <a:pt x="2751" y="6148"/>
                      </a:cubicBezTo>
                      <a:lnTo>
                        <a:pt x="3537" y="5589"/>
                      </a:lnTo>
                      <a:cubicBezTo>
                        <a:pt x="3573" y="5565"/>
                        <a:pt x="3596" y="5541"/>
                        <a:pt x="3620" y="5529"/>
                      </a:cubicBezTo>
                      <a:cubicBezTo>
                        <a:pt x="3668" y="5517"/>
                        <a:pt x="3715" y="5493"/>
                        <a:pt x="3775" y="5493"/>
                      </a:cubicBezTo>
                      <a:close/>
                      <a:moveTo>
                        <a:pt x="4359" y="6281"/>
                      </a:moveTo>
                      <a:cubicBezTo>
                        <a:pt x="4454" y="6281"/>
                        <a:pt x="4550" y="6321"/>
                        <a:pt x="4620" y="6398"/>
                      </a:cubicBezTo>
                      <a:cubicBezTo>
                        <a:pt x="4739" y="6553"/>
                        <a:pt x="4704" y="6755"/>
                        <a:pt x="4549" y="6863"/>
                      </a:cubicBezTo>
                      <a:lnTo>
                        <a:pt x="3954" y="7303"/>
                      </a:lnTo>
                      <a:cubicBezTo>
                        <a:pt x="3898" y="7331"/>
                        <a:pt x="3829" y="7358"/>
                        <a:pt x="3767" y="7358"/>
                      </a:cubicBezTo>
                      <a:cubicBezTo>
                        <a:pt x="3749" y="7358"/>
                        <a:pt x="3732" y="7356"/>
                        <a:pt x="3715" y="7351"/>
                      </a:cubicBezTo>
                      <a:cubicBezTo>
                        <a:pt x="3620" y="7339"/>
                        <a:pt x="3549" y="7303"/>
                        <a:pt x="3513" y="7220"/>
                      </a:cubicBezTo>
                      <a:cubicBezTo>
                        <a:pt x="3406" y="7077"/>
                        <a:pt x="3430" y="6863"/>
                        <a:pt x="3584" y="6755"/>
                      </a:cubicBezTo>
                      <a:lnTo>
                        <a:pt x="4144" y="6363"/>
                      </a:lnTo>
                      <a:lnTo>
                        <a:pt x="4168" y="6339"/>
                      </a:lnTo>
                      <a:cubicBezTo>
                        <a:pt x="4226" y="6300"/>
                        <a:pt x="4292" y="6281"/>
                        <a:pt x="4359" y="6281"/>
                      </a:cubicBezTo>
                      <a:close/>
                      <a:moveTo>
                        <a:pt x="2870" y="2553"/>
                      </a:moveTo>
                      <a:lnTo>
                        <a:pt x="3156" y="2707"/>
                      </a:lnTo>
                      <a:cubicBezTo>
                        <a:pt x="3173" y="2725"/>
                        <a:pt x="3197" y="2736"/>
                        <a:pt x="3218" y="2736"/>
                      </a:cubicBezTo>
                      <a:cubicBezTo>
                        <a:pt x="3226" y="2736"/>
                        <a:pt x="3233" y="2734"/>
                        <a:pt x="3239" y="2731"/>
                      </a:cubicBezTo>
                      <a:lnTo>
                        <a:pt x="3942" y="2636"/>
                      </a:lnTo>
                      <a:lnTo>
                        <a:pt x="4192" y="2743"/>
                      </a:lnTo>
                      <a:lnTo>
                        <a:pt x="4049" y="3338"/>
                      </a:lnTo>
                      <a:lnTo>
                        <a:pt x="4049" y="3362"/>
                      </a:lnTo>
                      <a:lnTo>
                        <a:pt x="4049" y="4648"/>
                      </a:lnTo>
                      <a:cubicBezTo>
                        <a:pt x="4049" y="5077"/>
                        <a:pt x="4406" y="5434"/>
                        <a:pt x="4835" y="5434"/>
                      </a:cubicBezTo>
                      <a:cubicBezTo>
                        <a:pt x="5263" y="5434"/>
                        <a:pt x="5620" y="5077"/>
                        <a:pt x="5620" y="4648"/>
                      </a:cubicBezTo>
                      <a:lnTo>
                        <a:pt x="5620" y="3410"/>
                      </a:lnTo>
                      <a:lnTo>
                        <a:pt x="5656" y="3362"/>
                      </a:lnTo>
                      <a:lnTo>
                        <a:pt x="8776" y="5065"/>
                      </a:lnTo>
                      <a:cubicBezTo>
                        <a:pt x="8942" y="5184"/>
                        <a:pt x="9002" y="5374"/>
                        <a:pt x="8907" y="5541"/>
                      </a:cubicBezTo>
                      <a:cubicBezTo>
                        <a:pt x="8850" y="5654"/>
                        <a:pt x="8745" y="5717"/>
                        <a:pt x="8631" y="5717"/>
                      </a:cubicBezTo>
                      <a:cubicBezTo>
                        <a:pt x="8576" y="5717"/>
                        <a:pt x="8520" y="5703"/>
                        <a:pt x="8466" y="5672"/>
                      </a:cubicBezTo>
                      <a:lnTo>
                        <a:pt x="6740" y="4743"/>
                      </a:lnTo>
                      <a:cubicBezTo>
                        <a:pt x="6711" y="4727"/>
                        <a:pt x="6682" y="4719"/>
                        <a:pt x="6655" y="4719"/>
                      </a:cubicBezTo>
                      <a:cubicBezTo>
                        <a:pt x="6603" y="4719"/>
                        <a:pt x="6557" y="4748"/>
                        <a:pt x="6525" y="4803"/>
                      </a:cubicBezTo>
                      <a:cubicBezTo>
                        <a:pt x="6490" y="4874"/>
                        <a:pt x="6513" y="4958"/>
                        <a:pt x="6585" y="5005"/>
                      </a:cubicBezTo>
                      <a:lnTo>
                        <a:pt x="8037" y="5791"/>
                      </a:lnTo>
                      <a:cubicBezTo>
                        <a:pt x="8192" y="5886"/>
                        <a:pt x="8252" y="6077"/>
                        <a:pt x="8168" y="6243"/>
                      </a:cubicBezTo>
                      <a:cubicBezTo>
                        <a:pt x="8104" y="6356"/>
                        <a:pt x="7996" y="6415"/>
                        <a:pt x="7881" y="6415"/>
                      </a:cubicBezTo>
                      <a:cubicBezTo>
                        <a:pt x="7826" y="6415"/>
                        <a:pt x="7770" y="6401"/>
                        <a:pt x="7716" y="6374"/>
                      </a:cubicBezTo>
                      <a:lnTo>
                        <a:pt x="6251" y="5565"/>
                      </a:lnTo>
                      <a:cubicBezTo>
                        <a:pt x="6226" y="5554"/>
                        <a:pt x="6200" y="5548"/>
                        <a:pt x="6175" y="5548"/>
                      </a:cubicBezTo>
                      <a:cubicBezTo>
                        <a:pt x="6120" y="5548"/>
                        <a:pt x="6070" y="5575"/>
                        <a:pt x="6037" y="5624"/>
                      </a:cubicBezTo>
                      <a:cubicBezTo>
                        <a:pt x="5990" y="5708"/>
                        <a:pt x="6025" y="5791"/>
                        <a:pt x="6097" y="5839"/>
                      </a:cubicBezTo>
                      <a:lnTo>
                        <a:pt x="7287" y="6493"/>
                      </a:lnTo>
                      <a:cubicBezTo>
                        <a:pt x="7454" y="6577"/>
                        <a:pt x="7514" y="6779"/>
                        <a:pt x="7418" y="6934"/>
                      </a:cubicBezTo>
                      <a:cubicBezTo>
                        <a:pt x="7360" y="7050"/>
                        <a:pt x="7250" y="7114"/>
                        <a:pt x="7132" y="7114"/>
                      </a:cubicBezTo>
                      <a:cubicBezTo>
                        <a:pt x="7081" y="7114"/>
                        <a:pt x="7028" y="7102"/>
                        <a:pt x="6978" y="7077"/>
                      </a:cubicBezTo>
                      <a:lnTo>
                        <a:pt x="5728" y="6386"/>
                      </a:lnTo>
                      <a:cubicBezTo>
                        <a:pt x="5705" y="6371"/>
                        <a:pt x="5680" y="6365"/>
                        <a:pt x="5655" y="6365"/>
                      </a:cubicBezTo>
                      <a:cubicBezTo>
                        <a:pt x="5601" y="6365"/>
                        <a:pt x="5546" y="6397"/>
                        <a:pt x="5513" y="6446"/>
                      </a:cubicBezTo>
                      <a:cubicBezTo>
                        <a:pt x="5478" y="6517"/>
                        <a:pt x="5501" y="6613"/>
                        <a:pt x="5573" y="6660"/>
                      </a:cubicBezTo>
                      <a:lnTo>
                        <a:pt x="6549" y="7172"/>
                      </a:lnTo>
                      <a:cubicBezTo>
                        <a:pt x="6704" y="7267"/>
                        <a:pt x="6763" y="7458"/>
                        <a:pt x="6680" y="7625"/>
                      </a:cubicBezTo>
                      <a:cubicBezTo>
                        <a:pt x="6616" y="7737"/>
                        <a:pt x="6508" y="7801"/>
                        <a:pt x="6393" y="7801"/>
                      </a:cubicBezTo>
                      <a:cubicBezTo>
                        <a:pt x="6338" y="7801"/>
                        <a:pt x="6282" y="7786"/>
                        <a:pt x="6228" y="7756"/>
                      </a:cubicBezTo>
                      <a:lnTo>
                        <a:pt x="5549" y="7386"/>
                      </a:lnTo>
                      <a:cubicBezTo>
                        <a:pt x="5549" y="7255"/>
                        <a:pt x="5501" y="7101"/>
                        <a:pt x="5406" y="6994"/>
                      </a:cubicBezTo>
                      <a:cubicBezTo>
                        <a:pt x="5299" y="6851"/>
                        <a:pt x="5132" y="6755"/>
                        <a:pt x="4954" y="6744"/>
                      </a:cubicBezTo>
                      <a:lnTo>
                        <a:pt x="4954" y="6696"/>
                      </a:lnTo>
                      <a:cubicBezTo>
                        <a:pt x="4977" y="6541"/>
                        <a:pt x="4930" y="6363"/>
                        <a:pt x="4835" y="6220"/>
                      </a:cubicBezTo>
                      <a:cubicBezTo>
                        <a:pt x="4716" y="6077"/>
                        <a:pt x="4549" y="5982"/>
                        <a:pt x="4370" y="5970"/>
                      </a:cubicBezTo>
                      <a:lnTo>
                        <a:pt x="4370" y="5922"/>
                      </a:lnTo>
                      <a:cubicBezTo>
                        <a:pt x="4406" y="5767"/>
                        <a:pt x="4358" y="5589"/>
                        <a:pt x="4251" y="5446"/>
                      </a:cubicBezTo>
                      <a:cubicBezTo>
                        <a:pt x="4132" y="5303"/>
                        <a:pt x="3965" y="5208"/>
                        <a:pt x="3787" y="5196"/>
                      </a:cubicBezTo>
                      <a:lnTo>
                        <a:pt x="3787" y="5148"/>
                      </a:lnTo>
                      <a:cubicBezTo>
                        <a:pt x="3823" y="4993"/>
                        <a:pt x="3775" y="4815"/>
                        <a:pt x="3668" y="4672"/>
                      </a:cubicBezTo>
                      <a:cubicBezTo>
                        <a:pt x="3547" y="4516"/>
                        <a:pt x="3359" y="4432"/>
                        <a:pt x="3172" y="4432"/>
                      </a:cubicBezTo>
                      <a:cubicBezTo>
                        <a:pt x="3044" y="4432"/>
                        <a:pt x="2917" y="4471"/>
                        <a:pt x="2811" y="4553"/>
                      </a:cubicBezTo>
                      <a:lnTo>
                        <a:pt x="1763" y="5315"/>
                      </a:lnTo>
                      <a:lnTo>
                        <a:pt x="1394" y="5112"/>
                      </a:lnTo>
                      <a:lnTo>
                        <a:pt x="2870" y="2553"/>
                      </a:lnTo>
                      <a:close/>
                      <a:moveTo>
                        <a:pt x="4936" y="7026"/>
                      </a:moveTo>
                      <a:cubicBezTo>
                        <a:pt x="5036" y="7026"/>
                        <a:pt x="5132" y="7070"/>
                        <a:pt x="5204" y="7148"/>
                      </a:cubicBezTo>
                      <a:cubicBezTo>
                        <a:pt x="5251" y="7244"/>
                        <a:pt x="5275" y="7315"/>
                        <a:pt x="5263" y="7398"/>
                      </a:cubicBezTo>
                      <a:cubicBezTo>
                        <a:pt x="5251" y="7494"/>
                        <a:pt x="5204" y="7565"/>
                        <a:pt x="5132" y="7625"/>
                      </a:cubicBezTo>
                      <a:lnTo>
                        <a:pt x="4787" y="7875"/>
                      </a:lnTo>
                      <a:cubicBezTo>
                        <a:pt x="4729" y="7918"/>
                        <a:pt x="4658" y="7940"/>
                        <a:pt x="4588" y="7940"/>
                      </a:cubicBezTo>
                      <a:cubicBezTo>
                        <a:pt x="4487" y="7940"/>
                        <a:pt x="4386" y="7895"/>
                        <a:pt x="4323" y="7803"/>
                      </a:cubicBezTo>
                      <a:cubicBezTo>
                        <a:pt x="4215" y="7660"/>
                        <a:pt x="4251" y="7446"/>
                        <a:pt x="4406" y="7339"/>
                      </a:cubicBezTo>
                      <a:lnTo>
                        <a:pt x="4727" y="7101"/>
                      </a:lnTo>
                      <a:lnTo>
                        <a:pt x="4739" y="7089"/>
                      </a:lnTo>
                      <a:cubicBezTo>
                        <a:pt x="4802" y="7046"/>
                        <a:pt x="4870" y="7026"/>
                        <a:pt x="4936" y="7026"/>
                      </a:cubicBezTo>
                      <a:close/>
                      <a:moveTo>
                        <a:pt x="180" y="0"/>
                      </a:moveTo>
                      <a:cubicBezTo>
                        <a:pt x="125" y="0"/>
                        <a:pt x="69" y="27"/>
                        <a:pt x="36" y="76"/>
                      </a:cubicBezTo>
                      <a:cubicBezTo>
                        <a:pt x="1" y="159"/>
                        <a:pt x="24" y="243"/>
                        <a:pt x="96" y="290"/>
                      </a:cubicBezTo>
                      <a:lnTo>
                        <a:pt x="2382" y="1600"/>
                      </a:lnTo>
                      <a:lnTo>
                        <a:pt x="405" y="5005"/>
                      </a:lnTo>
                      <a:lnTo>
                        <a:pt x="251" y="4922"/>
                      </a:lnTo>
                      <a:cubicBezTo>
                        <a:pt x="221" y="4905"/>
                        <a:pt x="192" y="4897"/>
                        <a:pt x="164" y="4897"/>
                      </a:cubicBezTo>
                      <a:cubicBezTo>
                        <a:pt x="113" y="4897"/>
                        <a:pt x="67" y="4923"/>
                        <a:pt x="36" y="4969"/>
                      </a:cubicBezTo>
                      <a:cubicBezTo>
                        <a:pt x="1" y="5053"/>
                        <a:pt x="24" y="5136"/>
                        <a:pt x="96" y="5184"/>
                      </a:cubicBezTo>
                      <a:lnTo>
                        <a:pt x="882" y="5648"/>
                      </a:lnTo>
                      <a:cubicBezTo>
                        <a:pt x="908" y="5663"/>
                        <a:pt x="934" y="5670"/>
                        <a:pt x="959" y="5670"/>
                      </a:cubicBezTo>
                      <a:cubicBezTo>
                        <a:pt x="1014" y="5670"/>
                        <a:pt x="1063" y="5638"/>
                        <a:pt x="1096" y="5589"/>
                      </a:cubicBezTo>
                      <a:lnTo>
                        <a:pt x="1215" y="5398"/>
                      </a:lnTo>
                      <a:lnTo>
                        <a:pt x="1537" y="5565"/>
                      </a:lnTo>
                      <a:cubicBezTo>
                        <a:pt x="1441" y="5779"/>
                        <a:pt x="1453" y="6029"/>
                        <a:pt x="1584" y="6220"/>
                      </a:cubicBezTo>
                      <a:cubicBezTo>
                        <a:pt x="1703" y="6386"/>
                        <a:pt x="1894" y="6482"/>
                        <a:pt x="2096" y="6482"/>
                      </a:cubicBezTo>
                      <a:cubicBezTo>
                        <a:pt x="2156" y="6482"/>
                        <a:pt x="2227" y="6458"/>
                        <a:pt x="2287" y="6446"/>
                      </a:cubicBezTo>
                      <a:cubicBezTo>
                        <a:pt x="2287" y="6577"/>
                        <a:pt x="2334" y="6720"/>
                        <a:pt x="2406" y="6815"/>
                      </a:cubicBezTo>
                      <a:cubicBezTo>
                        <a:pt x="2525" y="6982"/>
                        <a:pt x="2715" y="7077"/>
                        <a:pt x="2906" y="7077"/>
                      </a:cubicBezTo>
                      <a:cubicBezTo>
                        <a:pt x="2965" y="7077"/>
                        <a:pt x="3049" y="7053"/>
                        <a:pt x="3108" y="7041"/>
                      </a:cubicBezTo>
                      <a:cubicBezTo>
                        <a:pt x="3108" y="7160"/>
                        <a:pt x="3144" y="7291"/>
                        <a:pt x="3227" y="7398"/>
                      </a:cubicBezTo>
                      <a:cubicBezTo>
                        <a:pt x="3323" y="7529"/>
                        <a:pt x="3465" y="7625"/>
                        <a:pt x="3644" y="7648"/>
                      </a:cubicBezTo>
                      <a:cubicBezTo>
                        <a:pt x="3668" y="7648"/>
                        <a:pt x="3715" y="7672"/>
                        <a:pt x="3739" y="7672"/>
                      </a:cubicBezTo>
                      <a:cubicBezTo>
                        <a:pt x="3799" y="7672"/>
                        <a:pt x="3882" y="7648"/>
                        <a:pt x="3942" y="7636"/>
                      </a:cubicBezTo>
                      <a:cubicBezTo>
                        <a:pt x="3942" y="7767"/>
                        <a:pt x="3977" y="7886"/>
                        <a:pt x="4061" y="7994"/>
                      </a:cubicBezTo>
                      <a:cubicBezTo>
                        <a:pt x="4156" y="8125"/>
                        <a:pt x="4299" y="8220"/>
                        <a:pt x="4477" y="8244"/>
                      </a:cubicBezTo>
                      <a:cubicBezTo>
                        <a:pt x="4501" y="8244"/>
                        <a:pt x="4549" y="8267"/>
                        <a:pt x="4573" y="8267"/>
                      </a:cubicBezTo>
                      <a:cubicBezTo>
                        <a:pt x="4716" y="8267"/>
                        <a:pt x="4835" y="8220"/>
                        <a:pt x="4954" y="8148"/>
                      </a:cubicBezTo>
                      <a:lnTo>
                        <a:pt x="5287" y="7886"/>
                      </a:lnTo>
                      <a:cubicBezTo>
                        <a:pt x="5370" y="7827"/>
                        <a:pt x="5430" y="7767"/>
                        <a:pt x="5466" y="7684"/>
                      </a:cubicBezTo>
                      <a:lnTo>
                        <a:pt x="6085" y="8029"/>
                      </a:lnTo>
                      <a:cubicBezTo>
                        <a:pt x="6168" y="8077"/>
                        <a:pt x="6275" y="8101"/>
                        <a:pt x="6382" y="8101"/>
                      </a:cubicBezTo>
                      <a:cubicBezTo>
                        <a:pt x="6442" y="8101"/>
                        <a:pt x="6501" y="8089"/>
                        <a:pt x="6561" y="8077"/>
                      </a:cubicBezTo>
                      <a:cubicBezTo>
                        <a:pt x="6716" y="8029"/>
                        <a:pt x="6859" y="7922"/>
                        <a:pt x="6930" y="7779"/>
                      </a:cubicBezTo>
                      <a:cubicBezTo>
                        <a:pt x="6990" y="7648"/>
                        <a:pt x="7013" y="7529"/>
                        <a:pt x="7002" y="7398"/>
                      </a:cubicBezTo>
                      <a:cubicBezTo>
                        <a:pt x="7049" y="7398"/>
                        <a:pt x="7073" y="7422"/>
                        <a:pt x="7121" y="7422"/>
                      </a:cubicBezTo>
                      <a:cubicBezTo>
                        <a:pt x="7347" y="7422"/>
                        <a:pt x="7573" y="7303"/>
                        <a:pt x="7668" y="7089"/>
                      </a:cubicBezTo>
                      <a:cubicBezTo>
                        <a:pt x="7728" y="6970"/>
                        <a:pt x="7764" y="6839"/>
                        <a:pt x="7752" y="6720"/>
                      </a:cubicBezTo>
                      <a:cubicBezTo>
                        <a:pt x="7787" y="6720"/>
                        <a:pt x="7823" y="6732"/>
                        <a:pt x="7871" y="6732"/>
                      </a:cubicBezTo>
                      <a:cubicBezTo>
                        <a:pt x="8085" y="6732"/>
                        <a:pt x="8311" y="6613"/>
                        <a:pt x="8418" y="6410"/>
                      </a:cubicBezTo>
                      <a:cubicBezTo>
                        <a:pt x="8478" y="6291"/>
                        <a:pt x="8502" y="6172"/>
                        <a:pt x="8490" y="6029"/>
                      </a:cubicBezTo>
                      <a:cubicBezTo>
                        <a:pt x="8537" y="6029"/>
                        <a:pt x="8561" y="6053"/>
                        <a:pt x="8609" y="6053"/>
                      </a:cubicBezTo>
                      <a:cubicBezTo>
                        <a:pt x="8668" y="6053"/>
                        <a:pt x="8728" y="6029"/>
                        <a:pt x="8787" y="6017"/>
                      </a:cubicBezTo>
                      <a:cubicBezTo>
                        <a:pt x="8954" y="5970"/>
                        <a:pt x="9085" y="5874"/>
                        <a:pt x="9157" y="5720"/>
                      </a:cubicBezTo>
                      <a:cubicBezTo>
                        <a:pt x="9240" y="5577"/>
                        <a:pt x="9264" y="5410"/>
                        <a:pt x="9204" y="5243"/>
                      </a:cubicBezTo>
                      <a:cubicBezTo>
                        <a:pt x="9192" y="5196"/>
                        <a:pt x="9180" y="5172"/>
                        <a:pt x="9157" y="5136"/>
                      </a:cubicBezTo>
                      <a:lnTo>
                        <a:pt x="9430" y="4946"/>
                      </a:lnTo>
                      <a:lnTo>
                        <a:pt x="9561" y="5124"/>
                      </a:lnTo>
                      <a:cubicBezTo>
                        <a:pt x="9591" y="5161"/>
                        <a:pt x="9644" y="5180"/>
                        <a:pt x="9694" y="5180"/>
                      </a:cubicBezTo>
                      <a:cubicBezTo>
                        <a:pt x="9724" y="5180"/>
                        <a:pt x="9753" y="5173"/>
                        <a:pt x="9776" y="5160"/>
                      </a:cubicBezTo>
                      <a:lnTo>
                        <a:pt x="10192" y="4827"/>
                      </a:lnTo>
                      <a:cubicBezTo>
                        <a:pt x="10264" y="4743"/>
                        <a:pt x="10276" y="4648"/>
                        <a:pt x="10240" y="4577"/>
                      </a:cubicBezTo>
                      <a:cubicBezTo>
                        <a:pt x="10210" y="4539"/>
                        <a:pt x="10157" y="4521"/>
                        <a:pt x="10107" y="4521"/>
                      </a:cubicBezTo>
                      <a:cubicBezTo>
                        <a:pt x="10077" y="4521"/>
                        <a:pt x="10048" y="4527"/>
                        <a:pt x="10026" y="4541"/>
                      </a:cubicBezTo>
                      <a:lnTo>
                        <a:pt x="9728" y="4779"/>
                      </a:lnTo>
                      <a:lnTo>
                        <a:pt x="7347" y="1671"/>
                      </a:lnTo>
                      <a:lnTo>
                        <a:pt x="8704" y="790"/>
                      </a:lnTo>
                      <a:cubicBezTo>
                        <a:pt x="8776" y="755"/>
                        <a:pt x="8787" y="659"/>
                        <a:pt x="8752" y="588"/>
                      </a:cubicBezTo>
                      <a:cubicBezTo>
                        <a:pt x="8721" y="542"/>
                        <a:pt x="8670" y="516"/>
                        <a:pt x="8619" y="516"/>
                      </a:cubicBezTo>
                      <a:cubicBezTo>
                        <a:pt x="8591" y="516"/>
                        <a:pt x="8563" y="523"/>
                        <a:pt x="8537" y="540"/>
                      </a:cubicBezTo>
                      <a:lnTo>
                        <a:pt x="7049" y="1493"/>
                      </a:lnTo>
                      <a:cubicBezTo>
                        <a:pt x="6978" y="1540"/>
                        <a:pt x="6966" y="1648"/>
                        <a:pt x="7002" y="1719"/>
                      </a:cubicBezTo>
                      <a:lnTo>
                        <a:pt x="7275" y="2076"/>
                      </a:lnTo>
                      <a:lnTo>
                        <a:pt x="7085" y="2219"/>
                      </a:lnTo>
                      <a:lnTo>
                        <a:pt x="6311" y="1969"/>
                      </a:lnTo>
                      <a:cubicBezTo>
                        <a:pt x="6287" y="1969"/>
                        <a:pt x="6275" y="1957"/>
                        <a:pt x="6263" y="1957"/>
                      </a:cubicBezTo>
                      <a:lnTo>
                        <a:pt x="4501" y="1957"/>
                      </a:lnTo>
                      <a:cubicBezTo>
                        <a:pt x="4430" y="1957"/>
                        <a:pt x="4370" y="2005"/>
                        <a:pt x="4358" y="2076"/>
                      </a:cubicBezTo>
                      <a:lnTo>
                        <a:pt x="4251" y="2481"/>
                      </a:lnTo>
                      <a:lnTo>
                        <a:pt x="4001" y="2374"/>
                      </a:lnTo>
                      <a:cubicBezTo>
                        <a:pt x="3965" y="2362"/>
                        <a:pt x="3954" y="2362"/>
                        <a:pt x="3930" y="2362"/>
                      </a:cubicBezTo>
                      <a:lnTo>
                        <a:pt x="3227" y="2433"/>
                      </a:lnTo>
                      <a:lnTo>
                        <a:pt x="2989" y="2302"/>
                      </a:lnTo>
                      <a:lnTo>
                        <a:pt x="3215" y="1910"/>
                      </a:lnTo>
                      <a:cubicBezTo>
                        <a:pt x="3251" y="1838"/>
                        <a:pt x="3227" y="1743"/>
                        <a:pt x="3156" y="1707"/>
                      </a:cubicBezTo>
                      <a:lnTo>
                        <a:pt x="251" y="16"/>
                      </a:lnTo>
                      <a:cubicBezTo>
                        <a:pt x="229" y="5"/>
                        <a:pt x="204" y="0"/>
                        <a:pt x="18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oogle Shape;13586;p63">
                  <a:extLst>
                    <a:ext uri="{FF2B5EF4-FFF2-40B4-BE49-F238E27FC236}">
                      <a16:creationId xmlns:a16="http://schemas.microsoft.com/office/drawing/2014/main" id="{62C0D0B3-8E77-43FC-913F-D38F912754AE}"/>
                    </a:ext>
                  </a:extLst>
                </p:cNvPr>
                <p:cNvSpPr/>
                <p:nvPr/>
              </p:nvSpPr>
              <p:spPr>
                <a:xfrm>
                  <a:off x="4079948" y="2679504"/>
                  <a:ext cx="49569" cy="359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8" h="847" extrusionOk="0">
                      <a:moveTo>
                        <a:pt x="999" y="0"/>
                      </a:moveTo>
                      <a:cubicBezTo>
                        <a:pt x="971" y="0"/>
                        <a:pt x="943" y="8"/>
                        <a:pt x="918" y="25"/>
                      </a:cubicBezTo>
                      <a:lnTo>
                        <a:pt x="84" y="561"/>
                      </a:lnTo>
                      <a:cubicBezTo>
                        <a:pt x="13" y="608"/>
                        <a:pt x="1" y="692"/>
                        <a:pt x="37" y="775"/>
                      </a:cubicBezTo>
                      <a:cubicBezTo>
                        <a:pt x="72" y="811"/>
                        <a:pt x="120" y="846"/>
                        <a:pt x="156" y="846"/>
                      </a:cubicBezTo>
                      <a:cubicBezTo>
                        <a:pt x="191" y="846"/>
                        <a:pt x="215" y="823"/>
                        <a:pt x="239" y="811"/>
                      </a:cubicBezTo>
                      <a:lnTo>
                        <a:pt x="1073" y="275"/>
                      </a:lnTo>
                      <a:cubicBezTo>
                        <a:pt x="1156" y="239"/>
                        <a:pt x="1168" y="144"/>
                        <a:pt x="1132" y="72"/>
                      </a:cubicBezTo>
                      <a:cubicBezTo>
                        <a:pt x="1101" y="26"/>
                        <a:pt x="1051" y="0"/>
                        <a:pt x="99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340093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ct 111" hidden="1">
            <a:extLst>
              <a:ext uri="{FF2B5EF4-FFF2-40B4-BE49-F238E27FC236}">
                <a16:creationId xmlns:a16="http://schemas.microsoft.com/office/drawing/2014/main" id="{42D6783D-FC86-46BB-81A7-105524F92A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12" name="Object 111" hidden="1">
                        <a:extLst>
                          <a:ext uri="{FF2B5EF4-FFF2-40B4-BE49-F238E27FC236}">
                            <a16:creationId xmlns:a16="http://schemas.microsoft.com/office/drawing/2014/main" id="{42D6783D-FC86-46BB-81A7-105524F92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1A0829C3-C86B-4668-B867-780EE863AFE1}"/>
              </a:ext>
            </a:extLst>
          </p:cNvPr>
          <p:cNvGrpSpPr/>
          <p:nvPr/>
        </p:nvGrpSpPr>
        <p:grpSpPr>
          <a:xfrm>
            <a:off x="4440000" y="2079489"/>
            <a:ext cx="3312000" cy="1695757"/>
            <a:chOff x="617534" y="1290231"/>
            <a:chExt cx="6012001" cy="2176651"/>
          </a:xfrm>
        </p:grpSpPr>
        <p:sp>
          <p:nvSpPr>
            <p:cNvPr id="57" name="TextBox 4">
              <a:extLst>
                <a:ext uri="{FF2B5EF4-FFF2-40B4-BE49-F238E27FC236}">
                  <a16:creationId xmlns:a16="http://schemas.microsoft.com/office/drawing/2014/main" id="{C9D8BE34-6061-4A8F-921F-8E4D9B54A5B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305300"/>
              <a:ext cx="6012001" cy="21615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ution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lement data governance initiatives, such as data stewards, data validation and data dictionaries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Provide new data analysis tools and training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ntegrate regulatory risk framework into system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8177ED5-EAC0-43B3-BC37-E6676370150C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6" y="1290231"/>
              <a:ext cx="6011999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20DA3D-41AD-4F62-8E35-700CCD1C4C13}"/>
              </a:ext>
            </a:extLst>
          </p:cNvPr>
          <p:cNvGrpSpPr/>
          <p:nvPr/>
        </p:nvGrpSpPr>
        <p:grpSpPr>
          <a:xfrm>
            <a:off x="982663" y="2079489"/>
            <a:ext cx="3312000" cy="1696947"/>
            <a:chOff x="617534" y="1614488"/>
            <a:chExt cx="6012001" cy="1852394"/>
          </a:xfrm>
        </p:grpSpPr>
        <p:sp>
          <p:nvSpPr>
            <p:cNvPr id="70" name="TextBox 4">
              <a:extLst>
                <a:ext uri="{FF2B5EF4-FFF2-40B4-BE49-F238E27FC236}">
                  <a16:creationId xmlns:a16="http://schemas.microsoft.com/office/drawing/2014/main" id="{DABC1CF3-528E-4771-BEF1-6B07AE476073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614488"/>
              <a:ext cx="6012001" cy="18523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blem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Data governance policies and responsibilities not well defined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 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and understood</a:t>
              </a:r>
            </a:p>
            <a:p>
              <a:pPr marL="179705" lvl="0" indent="-179705">
                <a:lnSpc>
                  <a:spcPct val="100000"/>
                </a:lnSpc>
                <a:buClr>
                  <a:prstClr val="black"/>
                </a:buClr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Lack 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of </a:t>
              </a:r>
              <a:r>
                <a:rPr lang="en-GB" sz="1000" dirty="0">
                  <a:cs typeface="Calibri"/>
                </a:rPr>
                <a:t>sufficient data analysis and data management resources 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Difficult to view participant and provider risk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D838BA-A124-460C-B48C-282BEA6CE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613E042-6CFD-40D8-96D1-8C0C76A4874E}"/>
              </a:ext>
            </a:extLst>
          </p:cNvPr>
          <p:cNvSpPr txBox="1">
            <a:spLocks/>
          </p:cNvSpPr>
          <p:nvPr/>
        </p:nvSpPr>
        <p:spPr>
          <a:xfrm>
            <a:off x="11718924" y="6658264"/>
            <a:ext cx="492551" cy="3521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I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A3798C-DB7A-4257-BDE6-DD298EB65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2. Data and intelligence</a:t>
            </a:r>
          </a:p>
        </p:txBody>
      </p:sp>
      <p:sp>
        <p:nvSpPr>
          <p:cNvPr id="54" name="Rectangle 10">
            <a:extLst>
              <a:ext uri="{FF2B5EF4-FFF2-40B4-BE49-F238E27FC236}">
                <a16:creationId xmlns:a16="http://schemas.microsoft.com/office/drawing/2014/main" id="{374652A6-5705-4BB8-9ADD-09696A31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2" y="1562826"/>
            <a:ext cx="1023445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tream overview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E251498-FF77-4F75-A773-4442B414B349}"/>
              </a:ext>
            </a:extLst>
          </p:cNvPr>
          <p:cNvGrpSpPr/>
          <p:nvPr/>
        </p:nvGrpSpPr>
        <p:grpSpPr>
          <a:xfrm>
            <a:off x="982662" y="3865836"/>
            <a:ext cx="6769337" cy="1443139"/>
            <a:chOff x="7908293" y="2332107"/>
            <a:chExt cx="3312000" cy="1443139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6B59AEF-8C95-429D-95D2-445CBD85E983}"/>
                </a:ext>
              </a:extLst>
            </p:cNvPr>
            <p:cNvGrpSpPr/>
            <p:nvPr/>
          </p:nvGrpSpPr>
          <p:grpSpPr>
            <a:xfrm>
              <a:off x="7908293" y="2332107"/>
              <a:ext cx="3312000" cy="1443139"/>
              <a:chOff x="603685" y="1651115"/>
              <a:chExt cx="6012001" cy="1856881"/>
            </a:xfrm>
          </p:grpSpPr>
          <p:sp>
            <p:nvSpPr>
              <p:cNvPr id="96" name="TextBox 4">
                <a:extLst>
                  <a:ext uri="{FF2B5EF4-FFF2-40B4-BE49-F238E27FC236}">
                    <a16:creationId xmlns:a16="http://schemas.microsoft.com/office/drawing/2014/main" id="{F9E38435-8F28-4C3A-B13E-1E37E00C2D02}"/>
                  </a:ext>
                </a:extLst>
              </p:cNvPr>
              <p:cNvSpPr txBox="1">
                <a:spLocks noChangeArrowheads="1"/>
              </p:cNvSpPr>
              <p:nvPr userDrawn="1"/>
            </p:nvSpPr>
            <p:spPr bwMode="auto">
              <a:xfrm>
                <a:off x="603685" y="1655602"/>
                <a:ext cx="6012000" cy="185239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144000" tIns="108000" rIns="216000" bIns="14400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270000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•"/>
                  <a:tabLst>
                    <a:tab pos="270000" algn="l"/>
                  </a:tabLst>
                  <a:defRPr sz="1400" kern="0"/>
                </a:lvl1pPr>
                <a:lvl2pPr marL="540000" lvl="1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Font typeface="Calibri" panose="020F0502020204030204" pitchFamily="34" charset="0"/>
                  <a:buChar char="‒"/>
                  <a:tabLst>
                    <a:tab pos="270000" algn="l"/>
                  </a:tabLst>
                  <a:defRPr sz="1400" kern="0"/>
                </a:lvl2pPr>
                <a:lvl3pPr marL="810000" lvl="2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Courier New" panose="02070309020205020404" pitchFamily="49" charset="0"/>
                  <a:buChar char="o"/>
                  <a:tabLst>
                    <a:tab pos="270000" algn="l"/>
                  </a:tabLst>
                  <a:defRPr sz="1400" kern="0"/>
                </a:lvl3pPr>
                <a:lvl4pPr marL="1080000" lvl="3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Wingdings" panose="05000000000000000000" pitchFamily="2" charset="2"/>
                  <a:buChar char="§"/>
                  <a:tabLst>
                    <a:tab pos="270000" algn="l"/>
                  </a:tabLst>
                  <a:defRPr sz="1400" kern="0"/>
                </a:lvl4pPr>
                <a:lvl5pPr marL="810000" indent="0" defTabSz="89535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rgbClr val="18345E"/>
                  </a:buClr>
                  <a:buFont typeface="Wingdings" panose="05000000000000000000" pitchFamily="2" charset="2"/>
                  <a:buNone/>
                  <a:defRPr sz="1400" baseline="0"/>
                </a:lvl5pPr>
                <a:lvl6pPr marL="2152650" indent="-361950" fontAlgn="base">
                  <a:spcBef>
                    <a:spcPct val="20000"/>
                  </a:spcBef>
                  <a:spcAft>
                    <a:spcPct val="0"/>
                  </a:spcAft>
                  <a:buFont typeface="Calibri" pitchFamily="34" charset="0"/>
                  <a:buChar char="­"/>
                  <a:defRPr sz="1400"/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9pPr>
              </a:lstStyle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utcomes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Participants: 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Improved outcomes due to improved Commission ability to identify and respond to risk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Commission staff: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 Improved productivity, reduced errors, better reporting and insight capability. Greater visibility of provider performance and issues</a:t>
                </a: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16C8DB7-CFE4-433F-B545-0905644562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685" y="1651115"/>
                <a:ext cx="6012001" cy="0"/>
              </a:xfrm>
              <a:prstGeom prst="line">
                <a:avLst/>
              </a:prstGeom>
              <a:ln w="254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BF8EF5F5-6DE7-402E-A412-E8C53B79EA2B}"/>
                </a:ext>
              </a:extLst>
            </p:cNvPr>
            <p:cNvGrpSpPr/>
            <p:nvPr/>
          </p:nvGrpSpPr>
          <p:grpSpPr>
            <a:xfrm>
              <a:off x="10927466" y="2334500"/>
              <a:ext cx="289650" cy="257508"/>
              <a:chOff x="10962167" y="2469373"/>
              <a:chExt cx="289650" cy="257508"/>
            </a:xfrm>
          </p:grpSpPr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6F9ACC9C-32A1-4663-B108-708FC57FAC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962167" y="2469373"/>
                <a:ext cx="289650" cy="25750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29" name="Handshake Google Shape;13584;p63">
                <a:extLst>
                  <a:ext uri="{FF2B5EF4-FFF2-40B4-BE49-F238E27FC236}">
                    <a16:creationId xmlns:a16="http://schemas.microsoft.com/office/drawing/2014/main" id="{6E6DB1FC-A402-4D01-A5B2-164830AB076A}"/>
                  </a:ext>
                </a:extLst>
              </p:cNvPr>
              <p:cNvGrpSpPr>
                <a:grpSpLocks/>
              </p:cNvGrpSpPr>
              <p:nvPr>
                <p:custDataLst>
                  <p:tags r:id="rId6"/>
                </p:custDataLst>
              </p:nvPr>
            </p:nvGrpSpPr>
            <p:grpSpPr>
              <a:xfrm>
                <a:off x="11022155" y="2511137"/>
                <a:ext cx="180696" cy="153070"/>
                <a:chOff x="3693404" y="2679504"/>
                <a:chExt cx="436113" cy="369438"/>
              </a:xfrm>
              <a:solidFill>
                <a:srgbClr val="FFFFFF"/>
              </a:solidFill>
            </p:grpSpPr>
            <p:sp>
              <p:nvSpPr>
                <p:cNvPr id="131" name="Google Shape;13585;p63">
                  <a:extLst>
                    <a:ext uri="{FF2B5EF4-FFF2-40B4-BE49-F238E27FC236}">
                      <a16:creationId xmlns:a16="http://schemas.microsoft.com/office/drawing/2014/main" id="{A9F8ACED-8273-4187-9CB8-C33AEBB8DA10}"/>
                    </a:ext>
                  </a:extLst>
                </p:cNvPr>
                <p:cNvSpPr/>
                <p:nvPr/>
              </p:nvSpPr>
              <p:spPr>
                <a:xfrm>
                  <a:off x="3693404" y="2698049"/>
                  <a:ext cx="436113" cy="35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6" h="8268" extrusionOk="0">
                      <a:moveTo>
                        <a:pt x="6251" y="2267"/>
                      </a:moveTo>
                      <a:lnTo>
                        <a:pt x="7061" y="2541"/>
                      </a:lnTo>
                      <a:cubicBezTo>
                        <a:pt x="7073" y="2544"/>
                        <a:pt x="7086" y="2545"/>
                        <a:pt x="7098" y="2545"/>
                      </a:cubicBezTo>
                      <a:cubicBezTo>
                        <a:pt x="7136" y="2545"/>
                        <a:pt x="7174" y="2532"/>
                        <a:pt x="7192" y="2505"/>
                      </a:cubicBezTo>
                      <a:lnTo>
                        <a:pt x="7454" y="2314"/>
                      </a:lnTo>
                      <a:lnTo>
                        <a:pt x="9240" y="4660"/>
                      </a:lnTo>
                      <a:lnTo>
                        <a:pt x="8978" y="4874"/>
                      </a:lnTo>
                      <a:cubicBezTo>
                        <a:pt x="8966" y="4862"/>
                        <a:pt x="8942" y="4839"/>
                        <a:pt x="8930" y="4839"/>
                      </a:cubicBezTo>
                      <a:lnTo>
                        <a:pt x="5811" y="3148"/>
                      </a:lnTo>
                      <a:lnTo>
                        <a:pt x="5930" y="2969"/>
                      </a:lnTo>
                      <a:cubicBezTo>
                        <a:pt x="5978" y="2898"/>
                        <a:pt x="5966" y="2803"/>
                        <a:pt x="5894" y="2755"/>
                      </a:cubicBezTo>
                      <a:cubicBezTo>
                        <a:pt x="5864" y="2742"/>
                        <a:pt x="5834" y="2735"/>
                        <a:pt x="5806" y="2735"/>
                      </a:cubicBezTo>
                      <a:cubicBezTo>
                        <a:pt x="5756" y="2735"/>
                        <a:pt x="5710" y="2757"/>
                        <a:pt x="5680" y="2803"/>
                      </a:cubicBezTo>
                      <a:lnTo>
                        <a:pt x="5358" y="3326"/>
                      </a:lnTo>
                      <a:cubicBezTo>
                        <a:pt x="5335" y="3350"/>
                        <a:pt x="5323" y="3374"/>
                        <a:pt x="5323" y="3398"/>
                      </a:cubicBezTo>
                      <a:lnTo>
                        <a:pt x="5323" y="4684"/>
                      </a:lnTo>
                      <a:cubicBezTo>
                        <a:pt x="5323" y="4946"/>
                        <a:pt x="5097" y="5172"/>
                        <a:pt x="4835" y="5172"/>
                      </a:cubicBezTo>
                      <a:cubicBezTo>
                        <a:pt x="4561" y="5172"/>
                        <a:pt x="4346" y="4946"/>
                        <a:pt x="4346" y="4684"/>
                      </a:cubicBezTo>
                      <a:lnTo>
                        <a:pt x="4346" y="3410"/>
                      </a:lnTo>
                      <a:lnTo>
                        <a:pt x="4620" y="2267"/>
                      </a:lnTo>
                      <a:close/>
                      <a:moveTo>
                        <a:pt x="2680" y="1767"/>
                      </a:moveTo>
                      <a:lnTo>
                        <a:pt x="2918" y="1898"/>
                      </a:lnTo>
                      <a:lnTo>
                        <a:pt x="941" y="5303"/>
                      </a:lnTo>
                      <a:lnTo>
                        <a:pt x="703" y="5172"/>
                      </a:lnTo>
                      <a:lnTo>
                        <a:pt x="2680" y="1767"/>
                      </a:lnTo>
                      <a:close/>
                      <a:moveTo>
                        <a:pt x="3180" y="4743"/>
                      </a:moveTo>
                      <a:cubicBezTo>
                        <a:pt x="3287" y="4743"/>
                        <a:pt x="3370" y="4779"/>
                        <a:pt x="3442" y="4874"/>
                      </a:cubicBezTo>
                      <a:cubicBezTo>
                        <a:pt x="3561" y="5017"/>
                        <a:pt x="3525" y="5231"/>
                        <a:pt x="3370" y="5339"/>
                      </a:cubicBezTo>
                      <a:lnTo>
                        <a:pt x="2322" y="6112"/>
                      </a:lnTo>
                      <a:cubicBezTo>
                        <a:pt x="2262" y="6150"/>
                        <a:pt x="2194" y="6169"/>
                        <a:pt x="2127" y="6169"/>
                      </a:cubicBezTo>
                      <a:cubicBezTo>
                        <a:pt x="2023" y="6169"/>
                        <a:pt x="1923" y="6123"/>
                        <a:pt x="1858" y="6029"/>
                      </a:cubicBezTo>
                      <a:cubicBezTo>
                        <a:pt x="1751" y="5886"/>
                        <a:pt x="1787" y="5672"/>
                        <a:pt x="1929" y="5565"/>
                      </a:cubicBezTo>
                      <a:lnTo>
                        <a:pt x="2989" y="4803"/>
                      </a:lnTo>
                      <a:cubicBezTo>
                        <a:pt x="3049" y="4755"/>
                        <a:pt x="3120" y="4743"/>
                        <a:pt x="3180" y="4743"/>
                      </a:cubicBezTo>
                      <a:close/>
                      <a:moveTo>
                        <a:pt x="3775" y="5493"/>
                      </a:moveTo>
                      <a:cubicBezTo>
                        <a:pt x="3870" y="5493"/>
                        <a:pt x="3954" y="5553"/>
                        <a:pt x="4013" y="5636"/>
                      </a:cubicBezTo>
                      <a:cubicBezTo>
                        <a:pt x="4132" y="5779"/>
                        <a:pt x="4085" y="5993"/>
                        <a:pt x="3942" y="6089"/>
                      </a:cubicBezTo>
                      <a:lnTo>
                        <a:pt x="3132" y="6708"/>
                      </a:lnTo>
                      <a:cubicBezTo>
                        <a:pt x="3076" y="6745"/>
                        <a:pt x="3013" y="6764"/>
                        <a:pt x="2949" y="6764"/>
                      </a:cubicBezTo>
                      <a:cubicBezTo>
                        <a:pt x="2851" y="6764"/>
                        <a:pt x="2752" y="6718"/>
                        <a:pt x="2680" y="6624"/>
                      </a:cubicBezTo>
                      <a:cubicBezTo>
                        <a:pt x="2572" y="6482"/>
                        <a:pt x="2596" y="6255"/>
                        <a:pt x="2751" y="6148"/>
                      </a:cubicBezTo>
                      <a:lnTo>
                        <a:pt x="3537" y="5589"/>
                      </a:lnTo>
                      <a:cubicBezTo>
                        <a:pt x="3573" y="5565"/>
                        <a:pt x="3596" y="5541"/>
                        <a:pt x="3620" y="5529"/>
                      </a:cubicBezTo>
                      <a:cubicBezTo>
                        <a:pt x="3668" y="5517"/>
                        <a:pt x="3715" y="5493"/>
                        <a:pt x="3775" y="5493"/>
                      </a:cubicBezTo>
                      <a:close/>
                      <a:moveTo>
                        <a:pt x="4359" y="6281"/>
                      </a:moveTo>
                      <a:cubicBezTo>
                        <a:pt x="4454" y="6281"/>
                        <a:pt x="4550" y="6321"/>
                        <a:pt x="4620" y="6398"/>
                      </a:cubicBezTo>
                      <a:cubicBezTo>
                        <a:pt x="4739" y="6553"/>
                        <a:pt x="4704" y="6755"/>
                        <a:pt x="4549" y="6863"/>
                      </a:cubicBezTo>
                      <a:lnTo>
                        <a:pt x="3954" y="7303"/>
                      </a:lnTo>
                      <a:cubicBezTo>
                        <a:pt x="3898" y="7331"/>
                        <a:pt x="3829" y="7358"/>
                        <a:pt x="3767" y="7358"/>
                      </a:cubicBezTo>
                      <a:cubicBezTo>
                        <a:pt x="3749" y="7358"/>
                        <a:pt x="3732" y="7356"/>
                        <a:pt x="3715" y="7351"/>
                      </a:cubicBezTo>
                      <a:cubicBezTo>
                        <a:pt x="3620" y="7339"/>
                        <a:pt x="3549" y="7303"/>
                        <a:pt x="3513" y="7220"/>
                      </a:cubicBezTo>
                      <a:cubicBezTo>
                        <a:pt x="3406" y="7077"/>
                        <a:pt x="3430" y="6863"/>
                        <a:pt x="3584" y="6755"/>
                      </a:cubicBezTo>
                      <a:lnTo>
                        <a:pt x="4144" y="6363"/>
                      </a:lnTo>
                      <a:lnTo>
                        <a:pt x="4168" y="6339"/>
                      </a:lnTo>
                      <a:cubicBezTo>
                        <a:pt x="4226" y="6300"/>
                        <a:pt x="4292" y="6281"/>
                        <a:pt x="4359" y="6281"/>
                      </a:cubicBezTo>
                      <a:close/>
                      <a:moveTo>
                        <a:pt x="2870" y="2553"/>
                      </a:moveTo>
                      <a:lnTo>
                        <a:pt x="3156" y="2707"/>
                      </a:lnTo>
                      <a:cubicBezTo>
                        <a:pt x="3173" y="2725"/>
                        <a:pt x="3197" y="2736"/>
                        <a:pt x="3218" y="2736"/>
                      </a:cubicBezTo>
                      <a:cubicBezTo>
                        <a:pt x="3226" y="2736"/>
                        <a:pt x="3233" y="2734"/>
                        <a:pt x="3239" y="2731"/>
                      </a:cubicBezTo>
                      <a:lnTo>
                        <a:pt x="3942" y="2636"/>
                      </a:lnTo>
                      <a:lnTo>
                        <a:pt x="4192" y="2743"/>
                      </a:lnTo>
                      <a:lnTo>
                        <a:pt x="4049" y="3338"/>
                      </a:lnTo>
                      <a:lnTo>
                        <a:pt x="4049" y="3362"/>
                      </a:lnTo>
                      <a:lnTo>
                        <a:pt x="4049" y="4648"/>
                      </a:lnTo>
                      <a:cubicBezTo>
                        <a:pt x="4049" y="5077"/>
                        <a:pt x="4406" y="5434"/>
                        <a:pt x="4835" y="5434"/>
                      </a:cubicBezTo>
                      <a:cubicBezTo>
                        <a:pt x="5263" y="5434"/>
                        <a:pt x="5620" y="5077"/>
                        <a:pt x="5620" y="4648"/>
                      </a:cubicBezTo>
                      <a:lnTo>
                        <a:pt x="5620" y="3410"/>
                      </a:lnTo>
                      <a:lnTo>
                        <a:pt x="5656" y="3362"/>
                      </a:lnTo>
                      <a:lnTo>
                        <a:pt x="8776" y="5065"/>
                      </a:lnTo>
                      <a:cubicBezTo>
                        <a:pt x="8942" y="5184"/>
                        <a:pt x="9002" y="5374"/>
                        <a:pt x="8907" y="5541"/>
                      </a:cubicBezTo>
                      <a:cubicBezTo>
                        <a:pt x="8850" y="5654"/>
                        <a:pt x="8745" y="5717"/>
                        <a:pt x="8631" y="5717"/>
                      </a:cubicBezTo>
                      <a:cubicBezTo>
                        <a:pt x="8576" y="5717"/>
                        <a:pt x="8520" y="5703"/>
                        <a:pt x="8466" y="5672"/>
                      </a:cubicBezTo>
                      <a:lnTo>
                        <a:pt x="6740" y="4743"/>
                      </a:lnTo>
                      <a:cubicBezTo>
                        <a:pt x="6711" y="4727"/>
                        <a:pt x="6682" y="4719"/>
                        <a:pt x="6655" y="4719"/>
                      </a:cubicBezTo>
                      <a:cubicBezTo>
                        <a:pt x="6603" y="4719"/>
                        <a:pt x="6557" y="4748"/>
                        <a:pt x="6525" y="4803"/>
                      </a:cubicBezTo>
                      <a:cubicBezTo>
                        <a:pt x="6490" y="4874"/>
                        <a:pt x="6513" y="4958"/>
                        <a:pt x="6585" y="5005"/>
                      </a:cubicBezTo>
                      <a:lnTo>
                        <a:pt x="8037" y="5791"/>
                      </a:lnTo>
                      <a:cubicBezTo>
                        <a:pt x="8192" y="5886"/>
                        <a:pt x="8252" y="6077"/>
                        <a:pt x="8168" y="6243"/>
                      </a:cubicBezTo>
                      <a:cubicBezTo>
                        <a:pt x="8104" y="6356"/>
                        <a:pt x="7996" y="6415"/>
                        <a:pt x="7881" y="6415"/>
                      </a:cubicBezTo>
                      <a:cubicBezTo>
                        <a:pt x="7826" y="6415"/>
                        <a:pt x="7770" y="6401"/>
                        <a:pt x="7716" y="6374"/>
                      </a:cubicBezTo>
                      <a:lnTo>
                        <a:pt x="6251" y="5565"/>
                      </a:lnTo>
                      <a:cubicBezTo>
                        <a:pt x="6226" y="5554"/>
                        <a:pt x="6200" y="5548"/>
                        <a:pt x="6175" y="5548"/>
                      </a:cubicBezTo>
                      <a:cubicBezTo>
                        <a:pt x="6120" y="5548"/>
                        <a:pt x="6070" y="5575"/>
                        <a:pt x="6037" y="5624"/>
                      </a:cubicBezTo>
                      <a:cubicBezTo>
                        <a:pt x="5990" y="5708"/>
                        <a:pt x="6025" y="5791"/>
                        <a:pt x="6097" y="5839"/>
                      </a:cubicBezTo>
                      <a:lnTo>
                        <a:pt x="7287" y="6493"/>
                      </a:lnTo>
                      <a:cubicBezTo>
                        <a:pt x="7454" y="6577"/>
                        <a:pt x="7514" y="6779"/>
                        <a:pt x="7418" y="6934"/>
                      </a:cubicBezTo>
                      <a:cubicBezTo>
                        <a:pt x="7360" y="7050"/>
                        <a:pt x="7250" y="7114"/>
                        <a:pt x="7132" y="7114"/>
                      </a:cubicBezTo>
                      <a:cubicBezTo>
                        <a:pt x="7081" y="7114"/>
                        <a:pt x="7028" y="7102"/>
                        <a:pt x="6978" y="7077"/>
                      </a:cubicBezTo>
                      <a:lnTo>
                        <a:pt x="5728" y="6386"/>
                      </a:lnTo>
                      <a:cubicBezTo>
                        <a:pt x="5705" y="6371"/>
                        <a:pt x="5680" y="6365"/>
                        <a:pt x="5655" y="6365"/>
                      </a:cubicBezTo>
                      <a:cubicBezTo>
                        <a:pt x="5601" y="6365"/>
                        <a:pt x="5546" y="6397"/>
                        <a:pt x="5513" y="6446"/>
                      </a:cubicBezTo>
                      <a:cubicBezTo>
                        <a:pt x="5478" y="6517"/>
                        <a:pt x="5501" y="6613"/>
                        <a:pt x="5573" y="6660"/>
                      </a:cubicBezTo>
                      <a:lnTo>
                        <a:pt x="6549" y="7172"/>
                      </a:lnTo>
                      <a:cubicBezTo>
                        <a:pt x="6704" y="7267"/>
                        <a:pt x="6763" y="7458"/>
                        <a:pt x="6680" y="7625"/>
                      </a:cubicBezTo>
                      <a:cubicBezTo>
                        <a:pt x="6616" y="7737"/>
                        <a:pt x="6508" y="7801"/>
                        <a:pt x="6393" y="7801"/>
                      </a:cubicBezTo>
                      <a:cubicBezTo>
                        <a:pt x="6338" y="7801"/>
                        <a:pt x="6282" y="7786"/>
                        <a:pt x="6228" y="7756"/>
                      </a:cubicBezTo>
                      <a:lnTo>
                        <a:pt x="5549" y="7386"/>
                      </a:lnTo>
                      <a:cubicBezTo>
                        <a:pt x="5549" y="7255"/>
                        <a:pt x="5501" y="7101"/>
                        <a:pt x="5406" y="6994"/>
                      </a:cubicBezTo>
                      <a:cubicBezTo>
                        <a:pt x="5299" y="6851"/>
                        <a:pt x="5132" y="6755"/>
                        <a:pt x="4954" y="6744"/>
                      </a:cubicBezTo>
                      <a:lnTo>
                        <a:pt x="4954" y="6696"/>
                      </a:lnTo>
                      <a:cubicBezTo>
                        <a:pt x="4977" y="6541"/>
                        <a:pt x="4930" y="6363"/>
                        <a:pt x="4835" y="6220"/>
                      </a:cubicBezTo>
                      <a:cubicBezTo>
                        <a:pt x="4716" y="6077"/>
                        <a:pt x="4549" y="5982"/>
                        <a:pt x="4370" y="5970"/>
                      </a:cubicBezTo>
                      <a:lnTo>
                        <a:pt x="4370" y="5922"/>
                      </a:lnTo>
                      <a:cubicBezTo>
                        <a:pt x="4406" y="5767"/>
                        <a:pt x="4358" y="5589"/>
                        <a:pt x="4251" y="5446"/>
                      </a:cubicBezTo>
                      <a:cubicBezTo>
                        <a:pt x="4132" y="5303"/>
                        <a:pt x="3965" y="5208"/>
                        <a:pt x="3787" y="5196"/>
                      </a:cubicBezTo>
                      <a:lnTo>
                        <a:pt x="3787" y="5148"/>
                      </a:lnTo>
                      <a:cubicBezTo>
                        <a:pt x="3823" y="4993"/>
                        <a:pt x="3775" y="4815"/>
                        <a:pt x="3668" y="4672"/>
                      </a:cubicBezTo>
                      <a:cubicBezTo>
                        <a:pt x="3547" y="4516"/>
                        <a:pt x="3359" y="4432"/>
                        <a:pt x="3172" y="4432"/>
                      </a:cubicBezTo>
                      <a:cubicBezTo>
                        <a:pt x="3044" y="4432"/>
                        <a:pt x="2917" y="4471"/>
                        <a:pt x="2811" y="4553"/>
                      </a:cubicBezTo>
                      <a:lnTo>
                        <a:pt x="1763" y="5315"/>
                      </a:lnTo>
                      <a:lnTo>
                        <a:pt x="1394" y="5112"/>
                      </a:lnTo>
                      <a:lnTo>
                        <a:pt x="2870" y="2553"/>
                      </a:lnTo>
                      <a:close/>
                      <a:moveTo>
                        <a:pt x="4936" y="7026"/>
                      </a:moveTo>
                      <a:cubicBezTo>
                        <a:pt x="5036" y="7026"/>
                        <a:pt x="5132" y="7070"/>
                        <a:pt x="5204" y="7148"/>
                      </a:cubicBezTo>
                      <a:cubicBezTo>
                        <a:pt x="5251" y="7244"/>
                        <a:pt x="5275" y="7315"/>
                        <a:pt x="5263" y="7398"/>
                      </a:cubicBezTo>
                      <a:cubicBezTo>
                        <a:pt x="5251" y="7494"/>
                        <a:pt x="5204" y="7565"/>
                        <a:pt x="5132" y="7625"/>
                      </a:cubicBezTo>
                      <a:lnTo>
                        <a:pt x="4787" y="7875"/>
                      </a:lnTo>
                      <a:cubicBezTo>
                        <a:pt x="4729" y="7918"/>
                        <a:pt x="4658" y="7940"/>
                        <a:pt x="4588" y="7940"/>
                      </a:cubicBezTo>
                      <a:cubicBezTo>
                        <a:pt x="4487" y="7940"/>
                        <a:pt x="4386" y="7895"/>
                        <a:pt x="4323" y="7803"/>
                      </a:cubicBezTo>
                      <a:cubicBezTo>
                        <a:pt x="4215" y="7660"/>
                        <a:pt x="4251" y="7446"/>
                        <a:pt x="4406" y="7339"/>
                      </a:cubicBezTo>
                      <a:lnTo>
                        <a:pt x="4727" y="7101"/>
                      </a:lnTo>
                      <a:lnTo>
                        <a:pt x="4739" y="7089"/>
                      </a:lnTo>
                      <a:cubicBezTo>
                        <a:pt x="4802" y="7046"/>
                        <a:pt x="4870" y="7026"/>
                        <a:pt x="4936" y="7026"/>
                      </a:cubicBezTo>
                      <a:close/>
                      <a:moveTo>
                        <a:pt x="180" y="0"/>
                      </a:moveTo>
                      <a:cubicBezTo>
                        <a:pt x="125" y="0"/>
                        <a:pt x="69" y="27"/>
                        <a:pt x="36" y="76"/>
                      </a:cubicBezTo>
                      <a:cubicBezTo>
                        <a:pt x="1" y="159"/>
                        <a:pt x="24" y="243"/>
                        <a:pt x="96" y="290"/>
                      </a:cubicBezTo>
                      <a:lnTo>
                        <a:pt x="2382" y="1600"/>
                      </a:lnTo>
                      <a:lnTo>
                        <a:pt x="405" y="5005"/>
                      </a:lnTo>
                      <a:lnTo>
                        <a:pt x="251" y="4922"/>
                      </a:lnTo>
                      <a:cubicBezTo>
                        <a:pt x="221" y="4905"/>
                        <a:pt x="192" y="4897"/>
                        <a:pt x="164" y="4897"/>
                      </a:cubicBezTo>
                      <a:cubicBezTo>
                        <a:pt x="113" y="4897"/>
                        <a:pt x="67" y="4923"/>
                        <a:pt x="36" y="4969"/>
                      </a:cubicBezTo>
                      <a:cubicBezTo>
                        <a:pt x="1" y="5053"/>
                        <a:pt x="24" y="5136"/>
                        <a:pt x="96" y="5184"/>
                      </a:cubicBezTo>
                      <a:lnTo>
                        <a:pt x="882" y="5648"/>
                      </a:lnTo>
                      <a:cubicBezTo>
                        <a:pt x="908" y="5663"/>
                        <a:pt x="934" y="5670"/>
                        <a:pt x="959" y="5670"/>
                      </a:cubicBezTo>
                      <a:cubicBezTo>
                        <a:pt x="1014" y="5670"/>
                        <a:pt x="1063" y="5638"/>
                        <a:pt x="1096" y="5589"/>
                      </a:cubicBezTo>
                      <a:lnTo>
                        <a:pt x="1215" y="5398"/>
                      </a:lnTo>
                      <a:lnTo>
                        <a:pt x="1537" y="5565"/>
                      </a:lnTo>
                      <a:cubicBezTo>
                        <a:pt x="1441" y="5779"/>
                        <a:pt x="1453" y="6029"/>
                        <a:pt x="1584" y="6220"/>
                      </a:cubicBezTo>
                      <a:cubicBezTo>
                        <a:pt x="1703" y="6386"/>
                        <a:pt x="1894" y="6482"/>
                        <a:pt x="2096" y="6482"/>
                      </a:cubicBezTo>
                      <a:cubicBezTo>
                        <a:pt x="2156" y="6482"/>
                        <a:pt x="2227" y="6458"/>
                        <a:pt x="2287" y="6446"/>
                      </a:cubicBezTo>
                      <a:cubicBezTo>
                        <a:pt x="2287" y="6577"/>
                        <a:pt x="2334" y="6720"/>
                        <a:pt x="2406" y="6815"/>
                      </a:cubicBezTo>
                      <a:cubicBezTo>
                        <a:pt x="2525" y="6982"/>
                        <a:pt x="2715" y="7077"/>
                        <a:pt x="2906" y="7077"/>
                      </a:cubicBezTo>
                      <a:cubicBezTo>
                        <a:pt x="2965" y="7077"/>
                        <a:pt x="3049" y="7053"/>
                        <a:pt x="3108" y="7041"/>
                      </a:cubicBezTo>
                      <a:cubicBezTo>
                        <a:pt x="3108" y="7160"/>
                        <a:pt x="3144" y="7291"/>
                        <a:pt x="3227" y="7398"/>
                      </a:cubicBezTo>
                      <a:cubicBezTo>
                        <a:pt x="3323" y="7529"/>
                        <a:pt x="3465" y="7625"/>
                        <a:pt x="3644" y="7648"/>
                      </a:cubicBezTo>
                      <a:cubicBezTo>
                        <a:pt x="3668" y="7648"/>
                        <a:pt x="3715" y="7672"/>
                        <a:pt x="3739" y="7672"/>
                      </a:cubicBezTo>
                      <a:cubicBezTo>
                        <a:pt x="3799" y="7672"/>
                        <a:pt x="3882" y="7648"/>
                        <a:pt x="3942" y="7636"/>
                      </a:cubicBezTo>
                      <a:cubicBezTo>
                        <a:pt x="3942" y="7767"/>
                        <a:pt x="3977" y="7886"/>
                        <a:pt x="4061" y="7994"/>
                      </a:cubicBezTo>
                      <a:cubicBezTo>
                        <a:pt x="4156" y="8125"/>
                        <a:pt x="4299" y="8220"/>
                        <a:pt x="4477" y="8244"/>
                      </a:cubicBezTo>
                      <a:cubicBezTo>
                        <a:pt x="4501" y="8244"/>
                        <a:pt x="4549" y="8267"/>
                        <a:pt x="4573" y="8267"/>
                      </a:cubicBezTo>
                      <a:cubicBezTo>
                        <a:pt x="4716" y="8267"/>
                        <a:pt x="4835" y="8220"/>
                        <a:pt x="4954" y="8148"/>
                      </a:cubicBezTo>
                      <a:lnTo>
                        <a:pt x="5287" y="7886"/>
                      </a:lnTo>
                      <a:cubicBezTo>
                        <a:pt x="5370" y="7827"/>
                        <a:pt x="5430" y="7767"/>
                        <a:pt x="5466" y="7684"/>
                      </a:cubicBezTo>
                      <a:lnTo>
                        <a:pt x="6085" y="8029"/>
                      </a:lnTo>
                      <a:cubicBezTo>
                        <a:pt x="6168" y="8077"/>
                        <a:pt x="6275" y="8101"/>
                        <a:pt x="6382" y="8101"/>
                      </a:cubicBezTo>
                      <a:cubicBezTo>
                        <a:pt x="6442" y="8101"/>
                        <a:pt x="6501" y="8089"/>
                        <a:pt x="6561" y="8077"/>
                      </a:cubicBezTo>
                      <a:cubicBezTo>
                        <a:pt x="6716" y="8029"/>
                        <a:pt x="6859" y="7922"/>
                        <a:pt x="6930" y="7779"/>
                      </a:cubicBezTo>
                      <a:cubicBezTo>
                        <a:pt x="6990" y="7648"/>
                        <a:pt x="7013" y="7529"/>
                        <a:pt x="7002" y="7398"/>
                      </a:cubicBezTo>
                      <a:cubicBezTo>
                        <a:pt x="7049" y="7398"/>
                        <a:pt x="7073" y="7422"/>
                        <a:pt x="7121" y="7422"/>
                      </a:cubicBezTo>
                      <a:cubicBezTo>
                        <a:pt x="7347" y="7422"/>
                        <a:pt x="7573" y="7303"/>
                        <a:pt x="7668" y="7089"/>
                      </a:cubicBezTo>
                      <a:cubicBezTo>
                        <a:pt x="7728" y="6970"/>
                        <a:pt x="7764" y="6839"/>
                        <a:pt x="7752" y="6720"/>
                      </a:cubicBezTo>
                      <a:cubicBezTo>
                        <a:pt x="7787" y="6720"/>
                        <a:pt x="7823" y="6732"/>
                        <a:pt x="7871" y="6732"/>
                      </a:cubicBezTo>
                      <a:cubicBezTo>
                        <a:pt x="8085" y="6732"/>
                        <a:pt x="8311" y="6613"/>
                        <a:pt x="8418" y="6410"/>
                      </a:cubicBezTo>
                      <a:cubicBezTo>
                        <a:pt x="8478" y="6291"/>
                        <a:pt x="8502" y="6172"/>
                        <a:pt x="8490" y="6029"/>
                      </a:cubicBezTo>
                      <a:cubicBezTo>
                        <a:pt x="8537" y="6029"/>
                        <a:pt x="8561" y="6053"/>
                        <a:pt x="8609" y="6053"/>
                      </a:cubicBezTo>
                      <a:cubicBezTo>
                        <a:pt x="8668" y="6053"/>
                        <a:pt x="8728" y="6029"/>
                        <a:pt x="8787" y="6017"/>
                      </a:cubicBezTo>
                      <a:cubicBezTo>
                        <a:pt x="8954" y="5970"/>
                        <a:pt x="9085" y="5874"/>
                        <a:pt x="9157" y="5720"/>
                      </a:cubicBezTo>
                      <a:cubicBezTo>
                        <a:pt x="9240" y="5577"/>
                        <a:pt x="9264" y="5410"/>
                        <a:pt x="9204" y="5243"/>
                      </a:cubicBezTo>
                      <a:cubicBezTo>
                        <a:pt x="9192" y="5196"/>
                        <a:pt x="9180" y="5172"/>
                        <a:pt x="9157" y="5136"/>
                      </a:cubicBezTo>
                      <a:lnTo>
                        <a:pt x="9430" y="4946"/>
                      </a:lnTo>
                      <a:lnTo>
                        <a:pt x="9561" y="5124"/>
                      </a:lnTo>
                      <a:cubicBezTo>
                        <a:pt x="9591" y="5161"/>
                        <a:pt x="9644" y="5180"/>
                        <a:pt x="9694" y="5180"/>
                      </a:cubicBezTo>
                      <a:cubicBezTo>
                        <a:pt x="9724" y="5180"/>
                        <a:pt x="9753" y="5173"/>
                        <a:pt x="9776" y="5160"/>
                      </a:cubicBezTo>
                      <a:lnTo>
                        <a:pt x="10192" y="4827"/>
                      </a:lnTo>
                      <a:cubicBezTo>
                        <a:pt x="10264" y="4743"/>
                        <a:pt x="10276" y="4648"/>
                        <a:pt x="10240" y="4577"/>
                      </a:cubicBezTo>
                      <a:cubicBezTo>
                        <a:pt x="10210" y="4539"/>
                        <a:pt x="10157" y="4521"/>
                        <a:pt x="10107" y="4521"/>
                      </a:cubicBezTo>
                      <a:cubicBezTo>
                        <a:pt x="10077" y="4521"/>
                        <a:pt x="10048" y="4527"/>
                        <a:pt x="10026" y="4541"/>
                      </a:cubicBezTo>
                      <a:lnTo>
                        <a:pt x="9728" y="4779"/>
                      </a:lnTo>
                      <a:lnTo>
                        <a:pt x="7347" y="1671"/>
                      </a:lnTo>
                      <a:lnTo>
                        <a:pt x="8704" y="790"/>
                      </a:lnTo>
                      <a:cubicBezTo>
                        <a:pt x="8776" y="755"/>
                        <a:pt x="8787" y="659"/>
                        <a:pt x="8752" y="588"/>
                      </a:cubicBezTo>
                      <a:cubicBezTo>
                        <a:pt x="8721" y="542"/>
                        <a:pt x="8670" y="516"/>
                        <a:pt x="8619" y="516"/>
                      </a:cubicBezTo>
                      <a:cubicBezTo>
                        <a:pt x="8591" y="516"/>
                        <a:pt x="8563" y="523"/>
                        <a:pt x="8537" y="540"/>
                      </a:cubicBezTo>
                      <a:lnTo>
                        <a:pt x="7049" y="1493"/>
                      </a:lnTo>
                      <a:cubicBezTo>
                        <a:pt x="6978" y="1540"/>
                        <a:pt x="6966" y="1648"/>
                        <a:pt x="7002" y="1719"/>
                      </a:cubicBezTo>
                      <a:lnTo>
                        <a:pt x="7275" y="2076"/>
                      </a:lnTo>
                      <a:lnTo>
                        <a:pt x="7085" y="2219"/>
                      </a:lnTo>
                      <a:lnTo>
                        <a:pt x="6311" y="1969"/>
                      </a:lnTo>
                      <a:cubicBezTo>
                        <a:pt x="6287" y="1969"/>
                        <a:pt x="6275" y="1957"/>
                        <a:pt x="6263" y="1957"/>
                      </a:cubicBezTo>
                      <a:lnTo>
                        <a:pt x="4501" y="1957"/>
                      </a:lnTo>
                      <a:cubicBezTo>
                        <a:pt x="4430" y="1957"/>
                        <a:pt x="4370" y="2005"/>
                        <a:pt x="4358" y="2076"/>
                      </a:cubicBezTo>
                      <a:lnTo>
                        <a:pt x="4251" y="2481"/>
                      </a:lnTo>
                      <a:lnTo>
                        <a:pt x="4001" y="2374"/>
                      </a:lnTo>
                      <a:cubicBezTo>
                        <a:pt x="3965" y="2362"/>
                        <a:pt x="3954" y="2362"/>
                        <a:pt x="3930" y="2362"/>
                      </a:cubicBezTo>
                      <a:lnTo>
                        <a:pt x="3227" y="2433"/>
                      </a:lnTo>
                      <a:lnTo>
                        <a:pt x="2989" y="2302"/>
                      </a:lnTo>
                      <a:lnTo>
                        <a:pt x="3215" y="1910"/>
                      </a:lnTo>
                      <a:cubicBezTo>
                        <a:pt x="3251" y="1838"/>
                        <a:pt x="3227" y="1743"/>
                        <a:pt x="3156" y="1707"/>
                      </a:cubicBezTo>
                      <a:lnTo>
                        <a:pt x="251" y="16"/>
                      </a:lnTo>
                      <a:cubicBezTo>
                        <a:pt x="229" y="5"/>
                        <a:pt x="204" y="0"/>
                        <a:pt x="18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oogle Shape;13586;p63">
                  <a:extLst>
                    <a:ext uri="{FF2B5EF4-FFF2-40B4-BE49-F238E27FC236}">
                      <a16:creationId xmlns:a16="http://schemas.microsoft.com/office/drawing/2014/main" id="{62C0D0B3-8E77-43FC-913F-D38F912754AE}"/>
                    </a:ext>
                  </a:extLst>
                </p:cNvPr>
                <p:cNvSpPr/>
                <p:nvPr/>
              </p:nvSpPr>
              <p:spPr>
                <a:xfrm>
                  <a:off x="4079948" y="2679504"/>
                  <a:ext cx="49569" cy="359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8" h="847" extrusionOk="0">
                      <a:moveTo>
                        <a:pt x="999" y="0"/>
                      </a:moveTo>
                      <a:cubicBezTo>
                        <a:pt x="971" y="0"/>
                        <a:pt x="943" y="8"/>
                        <a:pt x="918" y="25"/>
                      </a:cubicBezTo>
                      <a:lnTo>
                        <a:pt x="84" y="561"/>
                      </a:lnTo>
                      <a:cubicBezTo>
                        <a:pt x="13" y="608"/>
                        <a:pt x="1" y="692"/>
                        <a:pt x="37" y="775"/>
                      </a:cubicBezTo>
                      <a:cubicBezTo>
                        <a:pt x="72" y="811"/>
                        <a:pt x="120" y="846"/>
                        <a:pt x="156" y="846"/>
                      </a:cubicBezTo>
                      <a:cubicBezTo>
                        <a:pt x="191" y="846"/>
                        <a:pt x="215" y="823"/>
                        <a:pt x="239" y="811"/>
                      </a:cubicBezTo>
                      <a:lnTo>
                        <a:pt x="1073" y="275"/>
                      </a:lnTo>
                      <a:cubicBezTo>
                        <a:pt x="1156" y="239"/>
                        <a:pt x="1168" y="144"/>
                        <a:pt x="1132" y="72"/>
                      </a:cubicBezTo>
                      <a:cubicBezTo>
                        <a:pt x="1101" y="26"/>
                        <a:pt x="1051" y="0"/>
                        <a:pt x="99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C99158F-28F3-4A46-A620-3DECF036A48F}"/>
              </a:ext>
            </a:extLst>
          </p:cNvPr>
          <p:cNvGrpSpPr/>
          <p:nvPr/>
        </p:nvGrpSpPr>
        <p:grpSpPr>
          <a:xfrm>
            <a:off x="4005013" y="2091229"/>
            <a:ext cx="289650" cy="257508"/>
            <a:chOff x="3843088" y="2151476"/>
            <a:chExt cx="403950" cy="36830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EFE3F3-77AA-4812-BD42-5076BD014317}"/>
                </a:ext>
              </a:extLst>
            </p:cNvPr>
            <p:cNvSpPr>
              <a:spLocks/>
            </p:cNvSpPr>
            <p:nvPr/>
          </p:nvSpPr>
          <p:spPr>
            <a:xfrm>
              <a:off x="3843088" y="2151476"/>
              <a:ext cx="403950" cy="3683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9902;p57">
              <a:extLst>
                <a:ext uri="{FF2B5EF4-FFF2-40B4-BE49-F238E27FC236}">
                  <a16:creationId xmlns:a16="http://schemas.microsoft.com/office/drawing/2014/main" id="{4E678130-718C-4CDF-A7B7-3F35363803C5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19085" y="2209674"/>
              <a:ext cx="252002" cy="252006"/>
              <a:chOff x="4126815" y="2760704"/>
              <a:chExt cx="380393" cy="363118"/>
            </a:xfrm>
            <a:solidFill>
              <a:schemeClr val="bg1"/>
            </a:solidFill>
          </p:grpSpPr>
          <p:sp>
            <p:nvSpPr>
              <p:cNvPr id="75" name="Google Shape;9903;p57">
                <a:extLst>
                  <a:ext uri="{FF2B5EF4-FFF2-40B4-BE49-F238E27FC236}">
                    <a16:creationId xmlns:a16="http://schemas.microsoft.com/office/drawing/2014/main" id="{547B6BAB-5CA4-464B-A05E-16C34AE4FDF0}"/>
                  </a:ext>
                </a:extLst>
              </p:cNvPr>
              <p:cNvSpPr/>
              <p:nvPr/>
            </p:nvSpPr>
            <p:spPr>
              <a:xfrm>
                <a:off x="4219825" y="2822435"/>
                <a:ext cx="103267" cy="29056"/>
              </a:xfrm>
              <a:custGeom>
                <a:avLst/>
                <a:gdLst/>
                <a:ahLst/>
                <a:cxnLst/>
                <a:rect l="l" t="t" r="r" b="b"/>
                <a:pathLst>
                  <a:path w="3252" h="915" extrusionOk="0">
                    <a:moveTo>
                      <a:pt x="1620" y="0"/>
                    </a:moveTo>
                    <a:cubicBezTo>
                      <a:pt x="1025" y="0"/>
                      <a:pt x="477" y="215"/>
                      <a:pt x="60" y="631"/>
                    </a:cubicBezTo>
                    <a:cubicBezTo>
                      <a:pt x="1" y="691"/>
                      <a:pt x="1" y="810"/>
                      <a:pt x="60" y="869"/>
                    </a:cubicBezTo>
                    <a:cubicBezTo>
                      <a:pt x="90" y="899"/>
                      <a:pt x="132" y="914"/>
                      <a:pt x="175" y="914"/>
                    </a:cubicBezTo>
                    <a:cubicBezTo>
                      <a:pt x="218" y="914"/>
                      <a:pt x="263" y="899"/>
                      <a:pt x="298" y="869"/>
                    </a:cubicBezTo>
                    <a:cubicBezTo>
                      <a:pt x="656" y="512"/>
                      <a:pt x="1120" y="322"/>
                      <a:pt x="1620" y="322"/>
                    </a:cubicBezTo>
                    <a:cubicBezTo>
                      <a:pt x="2132" y="322"/>
                      <a:pt x="2596" y="512"/>
                      <a:pt x="2953" y="869"/>
                    </a:cubicBezTo>
                    <a:cubicBezTo>
                      <a:pt x="2983" y="899"/>
                      <a:pt x="3028" y="914"/>
                      <a:pt x="3073" y="914"/>
                    </a:cubicBezTo>
                    <a:cubicBezTo>
                      <a:pt x="3117" y="914"/>
                      <a:pt x="3162" y="899"/>
                      <a:pt x="3192" y="869"/>
                    </a:cubicBezTo>
                    <a:cubicBezTo>
                      <a:pt x="3251" y="810"/>
                      <a:pt x="3251" y="691"/>
                      <a:pt x="3192" y="631"/>
                    </a:cubicBezTo>
                    <a:cubicBezTo>
                      <a:pt x="2775" y="215"/>
                      <a:pt x="2215" y="0"/>
                      <a:pt x="1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Google Shape;9904;p57">
                <a:extLst>
                  <a:ext uri="{FF2B5EF4-FFF2-40B4-BE49-F238E27FC236}">
                    <a16:creationId xmlns:a16="http://schemas.microsoft.com/office/drawing/2014/main" id="{CB7B676A-B4A1-4CC0-885C-B1414DA479E7}"/>
                  </a:ext>
                </a:extLst>
              </p:cNvPr>
              <p:cNvSpPr/>
              <p:nvPr/>
            </p:nvSpPr>
            <p:spPr>
              <a:xfrm>
                <a:off x="4126815" y="2760704"/>
                <a:ext cx="380393" cy="363118"/>
              </a:xfrm>
              <a:custGeom>
                <a:avLst/>
                <a:gdLst/>
                <a:ahLst/>
                <a:cxnLst/>
                <a:rect l="l" t="t" r="r" b="b"/>
                <a:pathLst>
                  <a:path w="11979" h="11435" extrusionOk="0">
                    <a:moveTo>
                      <a:pt x="7621" y="6921"/>
                    </a:moveTo>
                    <a:lnTo>
                      <a:pt x="8061" y="7373"/>
                    </a:lnTo>
                    <a:lnTo>
                      <a:pt x="7787" y="7659"/>
                    </a:lnTo>
                    <a:lnTo>
                      <a:pt x="7335" y="7207"/>
                    </a:lnTo>
                    <a:cubicBezTo>
                      <a:pt x="7442" y="7123"/>
                      <a:pt x="7526" y="7016"/>
                      <a:pt x="7621" y="6921"/>
                    </a:cubicBezTo>
                    <a:close/>
                    <a:moveTo>
                      <a:pt x="4552" y="328"/>
                    </a:moveTo>
                    <a:cubicBezTo>
                      <a:pt x="5525" y="328"/>
                      <a:pt x="6496" y="700"/>
                      <a:pt x="7228" y="1444"/>
                    </a:cubicBezTo>
                    <a:cubicBezTo>
                      <a:pt x="8645" y="2861"/>
                      <a:pt x="8704" y="5076"/>
                      <a:pt x="7466" y="6564"/>
                    </a:cubicBezTo>
                    <a:cubicBezTo>
                      <a:pt x="7311" y="6766"/>
                      <a:pt x="7156" y="6909"/>
                      <a:pt x="6978" y="7064"/>
                    </a:cubicBezTo>
                    <a:cubicBezTo>
                      <a:pt x="6279" y="7651"/>
                      <a:pt x="5417" y="7944"/>
                      <a:pt x="4554" y="7944"/>
                    </a:cubicBezTo>
                    <a:cubicBezTo>
                      <a:pt x="3579" y="7944"/>
                      <a:pt x="2603" y="7571"/>
                      <a:pt x="1858" y="6826"/>
                    </a:cubicBezTo>
                    <a:cubicBezTo>
                      <a:pt x="370" y="5338"/>
                      <a:pt x="370" y="2921"/>
                      <a:pt x="1858" y="1444"/>
                    </a:cubicBezTo>
                    <a:cubicBezTo>
                      <a:pt x="2602" y="700"/>
                      <a:pt x="3579" y="328"/>
                      <a:pt x="4552" y="328"/>
                    </a:cubicBezTo>
                    <a:close/>
                    <a:moveTo>
                      <a:pt x="8518" y="7440"/>
                    </a:moveTo>
                    <a:cubicBezTo>
                      <a:pt x="8550" y="7440"/>
                      <a:pt x="8580" y="7453"/>
                      <a:pt x="8597" y="7481"/>
                    </a:cubicBezTo>
                    <a:lnTo>
                      <a:pt x="9061" y="7897"/>
                    </a:lnTo>
                    <a:lnTo>
                      <a:pt x="8276" y="8683"/>
                    </a:lnTo>
                    <a:lnTo>
                      <a:pt x="7883" y="8195"/>
                    </a:lnTo>
                    <a:cubicBezTo>
                      <a:pt x="7847" y="8135"/>
                      <a:pt x="7847" y="8052"/>
                      <a:pt x="7883" y="8016"/>
                    </a:cubicBezTo>
                    <a:lnTo>
                      <a:pt x="8418" y="7481"/>
                    </a:lnTo>
                    <a:cubicBezTo>
                      <a:pt x="8444" y="7456"/>
                      <a:pt x="8482" y="7440"/>
                      <a:pt x="8518" y="7440"/>
                    </a:cubicBezTo>
                    <a:close/>
                    <a:moveTo>
                      <a:pt x="9335" y="8100"/>
                    </a:moveTo>
                    <a:lnTo>
                      <a:pt x="11252" y="9779"/>
                    </a:lnTo>
                    <a:cubicBezTo>
                      <a:pt x="11574" y="10064"/>
                      <a:pt x="11597" y="10576"/>
                      <a:pt x="11276" y="10886"/>
                    </a:cubicBezTo>
                    <a:cubicBezTo>
                      <a:pt x="11128" y="11033"/>
                      <a:pt x="10940" y="11105"/>
                      <a:pt x="10752" y="11105"/>
                    </a:cubicBezTo>
                    <a:cubicBezTo>
                      <a:pt x="10544" y="11105"/>
                      <a:pt x="10336" y="11018"/>
                      <a:pt x="10181" y="10850"/>
                    </a:cubicBezTo>
                    <a:lnTo>
                      <a:pt x="8514" y="8921"/>
                    </a:lnTo>
                    <a:lnTo>
                      <a:pt x="9335" y="8100"/>
                    </a:lnTo>
                    <a:close/>
                    <a:moveTo>
                      <a:pt x="4543" y="1"/>
                    </a:moveTo>
                    <a:cubicBezTo>
                      <a:pt x="3483" y="1"/>
                      <a:pt x="2424" y="402"/>
                      <a:pt x="1620" y="1206"/>
                    </a:cubicBezTo>
                    <a:cubicBezTo>
                      <a:pt x="1" y="2837"/>
                      <a:pt x="1" y="5457"/>
                      <a:pt x="1620" y="7064"/>
                    </a:cubicBezTo>
                    <a:cubicBezTo>
                      <a:pt x="2431" y="7875"/>
                      <a:pt x="3489" y="8272"/>
                      <a:pt x="4543" y="8272"/>
                    </a:cubicBezTo>
                    <a:cubicBezTo>
                      <a:pt x="5440" y="8272"/>
                      <a:pt x="6334" y="7985"/>
                      <a:pt x="7073" y="7421"/>
                    </a:cubicBezTo>
                    <a:lnTo>
                      <a:pt x="7561" y="7909"/>
                    </a:lnTo>
                    <a:cubicBezTo>
                      <a:pt x="7490" y="8076"/>
                      <a:pt x="7502" y="8278"/>
                      <a:pt x="7633" y="8409"/>
                    </a:cubicBezTo>
                    <a:lnTo>
                      <a:pt x="9954" y="11064"/>
                    </a:lnTo>
                    <a:cubicBezTo>
                      <a:pt x="10171" y="11312"/>
                      <a:pt x="10471" y="11434"/>
                      <a:pt x="10771" y="11434"/>
                    </a:cubicBezTo>
                    <a:cubicBezTo>
                      <a:pt x="11049" y="11434"/>
                      <a:pt x="11326" y="11330"/>
                      <a:pt x="11538" y="11124"/>
                    </a:cubicBezTo>
                    <a:cubicBezTo>
                      <a:pt x="11978" y="10671"/>
                      <a:pt x="11955" y="9945"/>
                      <a:pt x="11478" y="9540"/>
                    </a:cubicBezTo>
                    <a:lnTo>
                      <a:pt x="8823" y="7219"/>
                    </a:lnTo>
                    <a:cubicBezTo>
                      <a:pt x="8737" y="7139"/>
                      <a:pt x="8629" y="7104"/>
                      <a:pt x="8522" y="7104"/>
                    </a:cubicBezTo>
                    <a:cubicBezTo>
                      <a:pt x="8453" y="7104"/>
                      <a:pt x="8384" y="7119"/>
                      <a:pt x="8323" y="7147"/>
                    </a:cubicBezTo>
                    <a:lnTo>
                      <a:pt x="7823" y="6659"/>
                    </a:lnTo>
                    <a:cubicBezTo>
                      <a:pt x="9073" y="5052"/>
                      <a:pt x="8978" y="2694"/>
                      <a:pt x="7466" y="1206"/>
                    </a:cubicBezTo>
                    <a:cubicBezTo>
                      <a:pt x="6662" y="402"/>
                      <a:pt x="5603" y="1"/>
                      <a:pt x="45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Google Shape;9905;p57">
                <a:extLst>
                  <a:ext uri="{FF2B5EF4-FFF2-40B4-BE49-F238E27FC236}">
                    <a16:creationId xmlns:a16="http://schemas.microsoft.com/office/drawing/2014/main" id="{FB3FED87-D208-42E1-9BEC-5D720774ADEF}"/>
                  </a:ext>
                </a:extLst>
              </p:cNvPr>
              <p:cNvSpPr/>
              <p:nvPr/>
            </p:nvSpPr>
            <p:spPr>
              <a:xfrm>
                <a:off x="4278826" y="2791379"/>
                <a:ext cx="103998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275" h="6360" extrusionOk="0">
                    <a:moveTo>
                      <a:pt x="191" y="0"/>
                    </a:moveTo>
                    <a:cubicBezTo>
                      <a:pt x="106" y="0"/>
                      <a:pt x="35" y="59"/>
                      <a:pt x="24" y="157"/>
                    </a:cubicBezTo>
                    <a:cubicBezTo>
                      <a:pt x="0" y="264"/>
                      <a:pt x="60" y="335"/>
                      <a:pt x="167" y="347"/>
                    </a:cubicBezTo>
                    <a:cubicBezTo>
                      <a:pt x="798" y="442"/>
                      <a:pt x="1345" y="716"/>
                      <a:pt x="1786" y="1169"/>
                    </a:cubicBezTo>
                    <a:cubicBezTo>
                      <a:pt x="2905" y="2288"/>
                      <a:pt x="2905" y="4110"/>
                      <a:pt x="1786" y="5229"/>
                    </a:cubicBezTo>
                    <a:cubicBezTo>
                      <a:pt x="1345" y="5645"/>
                      <a:pt x="774" y="5931"/>
                      <a:pt x="167" y="6015"/>
                    </a:cubicBezTo>
                    <a:cubicBezTo>
                      <a:pt x="83" y="6038"/>
                      <a:pt x="24" y="6122"/>
                      <a:pt x="24" y="6217"/>
                    </a:cubicBezTo>
                    <a:cubicBezTo>
                      <a:pt x="36" y="6300"/>
                      <a:pt x="107" y="6360"/>
                      <a:pt x="179" y="6360"/>
                    </a:cubicBezTo>
                    <a:lnTo>
                      <a:pt x="214" y="6360"/>
                    </a:lnTo>
                    <a:cubicBezTo>
                      <a:pt x="917" y="6253"/>
                      <a:pt x="1536" y="5943"/>
                      <a:pt x="2024" y="5455"/>
                    </a:cubicBezTo>
                    <a:cubicBezTo>
                      <a:pt x="3274" y="4205"/>
                      <a:pt x="3274" y="2169"/>
                      <a:pt x="2024" y="919"/>
                    </a:cubicBezTo>
                    <a:cubicBezTo>
                      <a:pt x="1536" y="419"/>
                      <a:pt x="917" y="109"/>
                      <a:pt x="214" y="2"/>
                    </a:cubicBezTo>
                    <a:cubicBezTo>
                      <a:pt x="206" y="1"/>
                      <a:pt x="198" y="0"/>
                      <a:pt x="1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Google Shape;9906;p57">
                <a:extLst>
                  <a:ext uri="{FF2B5EF4-FFF2-40B4-BE49-F238E27FC236}">
                    <a16:creationId xmlns:a16="http://schemas.microsoft.com/office/drawing/2014/main" id="{B118434F-CF5B-4FB4-A093-1C2C1F276A15}"/>
                  </a:ext>
                </a:extLst>
              </p:cNvPr>
              <p:cNvSpPr/>
              <p:nvPr/>
            </p:nvSpPr>
            <p:spPr>
              <a:xfrm>
                <a:off x="4159332" y="2791379"/>
                <a:ext cx="105903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360" extrusionOk="0">
                    <a:moveTo>
                      <a:pt x="3162" y="1"/>
                    </a:moveTo>
                    <a:cubicBezTo>
                      <a:pt x="3156" y="1"/>
                      <a:pt x="3150" y="1"/>
                      <a:pt x="3144" y="2"/>
                    </a:cubicBezTo>
                    <a:cubicBezTo>
                      <a:pt x="2430" y="61"/>
                      <a:pt x="1775" y="383"/>
                      <a:pt x="1251" y="895"/>
                    </a:cubicBezTo>
                    <a:cubicBezTo>
                      <a:pt x="1" y="2145"/>
                      <a:pt x="1" y="4193"/>
                      <a:pt x="1251" y="5443"/>
                    </a:cubicBezTo>
                    <a:cubicBezTo>
                      <a:pt x="1775" y="5955"/>
                      <a:pt x="2430" y="6277"/>
                      <a:pt x="3144" y="6360"/>
                    </a:cubicBezTo>
                    <a:lnTo>
                      <a:pt x="3156" y="6360"/>
                    </a:lnTo>
                    <a:cubicBezTo>
                      <a:pt x="3251" y="6360"/>
                      <a:pt x="3311" y="6300"/>
                      <a:pt x="3323" y="6217"/>
                    </a:cubicBezTo>
                    <a:cubicBezTo>
                      <a:pt x="3334" y="6122"/>
                      <a:pt x="3263" y="6038"/>
                      <a:pt x="3168" y="6038"/>
                    </a:cubicBezTo>
                    <a:cubicBezTo>
                      <a:pt x="2537" y="5955"/>
                      <a:pt x="1941" y="5681"/>
                      <a:pt x="1477" y="5217"/>
                    </a:cubicBezTo>
                    <a:cubicBezTo>
                      <a:pt x="358" y="4098"/>
                      <a:pt x="358" y="2264"/>
                      <a:pt x="1477" y="1157"/>
                    </a:cubicBezTo>
                    <a:cubicBezTo>
                      <a:pt x="1941" y="692"/>
                      <a:pt x="2513" y="407"/>
                      <a:pt x="3168" y="335"/>
                    </a:cubicBezTo>
                    <a:cubicBezTo>
                      <a:pt x="3263" y="311"/>
                      <a:pt x="3334" y="240"/>
                      <a:pt x="3323" y="157"/>
                    </a:cubicBezTo>
                    <a:cubicBezTo>
                      <a:pt x="3312" y="68"/>
                      <a:pt x="3239" y="1"/>
                      <a:pt x="316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25AB410E-9F14-4018-BE4E-BE8D74F1ADCB}"/>
              </a:ext>
            </a:extLst>
          </p:cNvPr>
          <p:cNvGrpSpPr/>
          <p:nvPr/>
        </p:nvGrpSpPr>
        <p:grpSpPr>
          <a:xfrm>
            <a:off x="7905115" y="2079489"/>
            <a:ext cx="3312000" cy="3229486"/>
            <a:chOff x="603685" y="1308845"/>
            <a:chExt cx="6012002" cy="2822720"/>
          </a:xfrm>
        </p:grpSpPr>
        <p:sp>
          <p:nvSpPr>
            <p:cNvPr id="80" name="TextBox 4">
              <a:extLst>
                <a:ext uri="{FF2B5EF4-FFF2-40B4-BE49-F238E27FC236}">
                  <a16:creationId xmlns:a16="http://schemas.microsoft.com/office/drawing/2014/main" id="{B4198084-010D-43B5-90F8-2A23352817B2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03685" y="1326072"/>
              <a:ext cx="6012000" cy="28054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rget state components addressed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ear data management roles and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ponsibilities, including a governance committee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 stewards with accountability for data quality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plift in system-based data validation capability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arity of data model, meaning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 data engineering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greed data dictionary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ffective data management capability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910D9B8-E925-4CCE-8FE4-A614126827F0}"/>
                </a:ext>
              </a:extLst>
            </p:cNvPr>
            <p:cNvCxnSpPr>
              <a:cxnSpLocks/>
            </p:cNvCxnSpPr>
            <p:nvPr/>
          </p:nvCxnSpPr>
          <p:spPr>
            <a:xfrm>
              <a:off x="603685" y="1308845"/>
              <a:ext cx="6012002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6E494A2-55C3-4AFC-9FE7-55532B9513D6}"/>
              </a:ext>
            </a:extLst>
          </p:cNvPr>
          <p:cNvGrpSpPr/>
          <p:nvPr/>
        </p:nvGrpSpPr>
        <p:grpSpPr>
          <a:xfrm>
            <a:off x="7462351" y="2093870"/>
            <a:ext cx="289650" cy="256374"/>
            <a:chOff x="10927467" y="2335634"/>
            <a:chExt cx="289650" cy="25637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F11FC4B-6B53-42E1-BC0B-612274A7AAD7}"/>
                </a:ext>
              </a:extLst>
            </p:cNvPr>
            <p:cNvSpPr>
              <a:spLocks/>
            </p:cNvSpPr>
            <p:nvPr/>
          </p:nvSpPr>
          <p:spPr>
            <a:xfrm>
              <a:off x="10927467" y="2335634"/>
              <a:ext cx="289650" cy="25637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34" name="Idea Google Shape;10130;p57">
              <a:extLst>
                <a:ext uri="{FF2B5EF4-FFF2-40B4-BE49-F238E27FC236}">
                  <a16:creationId xmlns:a16="http://schemas.microsoft.com/office/drawing/2014/main" id="{3227F15B-1195-4419-A2EC-19F2D1C7268B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0990069" y="2375725"/>
              <a:ext cx="164445" cy="176192"/>
              <a:chOff x="5463762" y="5502505"/>
              <a:chExt cx="491329" cy="526428"/>
            </a:xfrm>
            <a:solidFill>
              <a:srgbClr val="FFFFFF"/>
            </a:solidFill>
          </p:grpSpPr>
          <p:sp>
            <p:nvSpPr>
              <p:cNvPr id="136" name="Google Shape;10131;p57">
                <a:extLst>
                  <a:ext uri="{FF2B5EF4-FFF2-40B4-BE49-F238E27FC236}">
                    <a16:creationId xmlns:a16="http://schemas.microsoft.com/office/drawing/2014/main" id="{B97F975D-D5D0-4F98-92BD-811A4A056B2A}"/>
                  </a:ext>
                </a:extLst>
              </p:cNvPr>
              <p:cNvSpPr/>
              <p:nvPr/>
            </p:nvSpPr>
            <p:spPr>
              <a:xfrm>
                <a:off x="5544752" y="5590432"/>
                <a:ext cx="322368" cy="438501"/>
              </a:xfrm>
              <a:custGeom>
                <a:avLst/>
                <a:gdLst/>
                <a:ahLst/>
                <a:cxnLst/>
                <a:rect l="l" t="t" r="r" b="b"/>
                <a:pathLst>
                  <a:path w="7109" h="9670" extrusionOk="0">
                    <a:moveTo>
                      <a:pt x="3643" y="359"/>
                    </a:moveTo>
                    <a:cubicBezTo>
                      <a:pt x="4417" y="359"/>
                      <a:pt x="5132" y="645"/>
                      <a:pt x="5703" y="1157"/>
                    </a:cubicBezTo>
                    <a:cubicBezTo>
                      <a:pt x="6358" y="1752"/>
                      <a:pt x="6751" y="2597"/>
                      <a:pt x="6751" y="3478"/>
                    </a:cubicBezTo>
                    <a:cubicBezTo>
                      <a:pt x="6739" y="4074"/>
                      <a:pt x="6572" y="4669"/>
                      <a:pt x="6251" y="5157"/>
                    </a:cubicBezTo>
                    <a:cubicBezTo>
                      <a:pt x="5929" y="5645"/>
                      <a:pt x="5489" y="6038"/>
                      <a:pt x="4953" y="6288"/>
                    </a:cubicBezTo>
                    <a:cubicBezTo>
                      <a:pt x="4620" y="6431"/>
                      <a:pt x="4417" y="6776"/>
                      <a:pt x="4417" y="7146"/>
                    </a:cubicBezTo>
                    <a:lnTo>
                      <a:pt x="4417" y="7360"/>
                    </a:lnTo>
                    <a:lnTo>
                      <a:pt x="2834" y="7360"/>
                    </a:lnTo>
                    <a:lnTo>
                      <a:pt x="2834" y="7146"/>
                    </a:lnTo>
                    <a:cubicBezTo>
                      <a:pt x="2834" y="6776"/>
                      <a:pt x="2631" y="6455"/>
                      <a:pt x="2298" y="6288"/>
                    </a:cubicBezTo>
                    <a:cubicBezTo>
                      <a:pt x="1084" y="5705"/>
                      <a:pt x="381" y="4407"/>
                      <a:pt x="548" y="3074"/>
                    </a:cubicBezTo>
                    <a:cubicBezTo>
                      <a:pt x="726" y="1669"/>
                      <a:pt x="1869" y="526"/>
                      <a:pt x="3286" y="383"/>
                    </a:cubicBezTo>
                    <a:cubicBezTo>
                      <a:pt x="3405" y="359"/>
                      <a:pt x="3524" y="359"/>
                      <a:pt x="3643" y="359"/>
                    </a:cubicBezTo>
                    <a:close/>
                    <a:moveTo>
                      <a:pt x="4417" y="7729"/>
                    </a:moveTo>
                    <a:lnTo>
                      <a:pt x="4417" y="8324"/>
                    </a:lnTo>
                    <a:cubicBezTo>
                      <a:pt x="4417" y="8443"/>
                      <a:pt x="4322" y="8539"/>
                      <a:pt x="4203" y="8539"/>
                    </a:cubicBezTo>
                    <a:lnTo>
                      <a:pt x="3048" y="8539"/>
                    </a:lnTo>
                    <a:cubicBezTo>
                      <a:pt x="2929" y="8539"/>
                      <a:pt x="2834" y="8443"/>
                      <a:pt x="2834" y="8324"/>
                    </a:cubicBezTo>
                    <a:lnTo>
                      <a:pt x="2834" y="7729"/>
                    </a:lnTo>
                    <a:close/>
                    <a:moveTo>
                      <a:pt x="4024" y="8896"/>
                    </a:moveTo>
                    <a:lnTo>
                      <a:pt x="4024" y="9098"/>
                    </a:lnTo>
                    <a:cubicBezTo>
                      <a:pt x="4024" y="9217"/>
                      <a:pt x="3941" y="9313"/>
                      <a:pt x="3822" y="9313"/>
                    </a:cubicBezTo>
                    <a:lnTo>
                      <a:pt x="3429" y="9313"/>
                    </a:lnTo>
                    <a:cubicBezTo>
                      <a:pt x="3310" y="9313"/>
                      <a:pt x="3227" y="9217"/>
                      <a:pt x="3227" y="9098"/>
                    </a:cubicBezTo>
                    <a:lnTo>
                      <a:pt x="3227" y="8896"/>
                    </a:lnTo>
                    <a:close/>
                    <a:moveTo>
                      <a:pt x="3658" y="1"/>
                    </a:moveTo>
                    <a:cubicBezTo>
                      <a:pt x="3519" y="1"/>
                      <a:pt x="3379" y="9"/>
                      <a:pt x="3239" y="26"/>
                    </a:cubicBezTo>
                    <a:cubicBezTo>
                      <a:pt x="1667" y="204"/>
                      <a:pt x="381" y="1466"/>
                      <a:pt x="191" y="3026"/>
                    </a:cubicBezTo>
                    <a:cubicBezTo>
                      <a:pt x="0" y="4526"/>
                      <a:pt x="786" y="5979"/>
                      <a:pt x="2155" y="6610"/>
                    </a:cubicBezTo>
                    <a:cubicBezTo>
                      <a:pt x="2358" y="6705"/>
                      <a:pt x="2477" y="6931"/>
                      <a:pt x="2477" y="7146"/>
                    </a:cubicBezTo>
                    <a:lnTo>
                      <a:pt x="2477" y="8324"/>
                    </a:lnTo>
                    <a:cubicBezTo>
                      <a:pt x="2477" y="8574"/>
                      <a:pt x="2643" y="8789"/>
                      <a:pt x="2870" y="8860"/>
                    </a:cubicBezTo>
                    <a:lnTo>
                      <a:pt x="2870" y="9098"/>
                    </a:lnTo>
                    <a:cubicBezTo>
                      <a:pt x="2870" y="9408"/>
                      <a:pt x="3120" y="9670"/>
                      <a:pt x="3429" y="9670"/>
                    </a:cubicBezTo>
                    <a:lnTo>
                      <a:pt x="3822" y="9670"/>
                    </a:lnTo>
                    <a:cubicBezTo>
                      <a:pt x="4132" y="9670"/>
                      <a:pt x="4382" y="9408"/>
                      <a:pt x="4382" y="9098"/>
                    </a:cubicBezTo>
                    <a:lnTo>
                      <a:pt x="4382" y="8860"/>
                    </a:lnTo>
                    <a:cubicBezTo>
                      <a:pt x="4608" y="8789"/>
                      <a:pt x="4775" y="8574"/>
                      <a:pt x="4775" y="8324"/>
                    </a:cubicBezTo>
                    <a:lnTo>
                      <a:pt x="4775" y="7146"/>
                    </a:lnTo>
                    <a:cubicBezTo>
                      <a:pt x="4775" y="6931"/>
                      <a:pt x="4906" y="6717"/>
                      <a:pt x="5096" y="6610"/>
                    </a:cubicBezTo>
                    <a:cubicBezTo>
                      <a:pt x="5691" y="6336"/>
                      <a:pt x="6191" y="5895"/>
                      <a:pt x="6549" y="5348"/>
                    </a:cubicBezTo>
                    <a:cubicBezTo>
                      <a:pt x="6906" y="4788"/>
                      <a:pt x="7096" y="4133"/>
                      <a:pt x="7096" y="3455"/>
                    </a:cubicBezTo>
                    <a:cubicBezTo>
                      <a:pt x="7108" y="2490"/>
                      <a:pt x="6680" y="1538"/>
                      <a:pt x="5953" y="883"/>
                    </a:cubicBezTo>
                    <a:cubicBezTo>
                      <a:pt x="5309" y="310"/>
                      <a:pt x="4506" y="1"/>
                      <a:pt x="365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Google Shape;10132;p57">
                <a:extLst>
                  <a:ext uri="{FF2B5EF4-FFF2-40B4-BE49-F238E27FC236}">
                    <a16:creationId xmlns:a16="http://schemas.microsoft.com/office/drawing/2014/main" id="{F67AF24D-CAE8-479B-B4B3-4EA5AA7074EC}"/>
                  </a:ext>
                </a:extLst>
              </p:cNvPr>
              <p:cNvSpPr/>
              <p:nvPr/>
            </p:nvSpPr>
            <p:spPr>
              <a:xfrm>
                <a:off x="5885938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80" y="1"/>
                    </a:moveTo>
                    <a:cubicBezTo>
                      <a:pt x="72" y="1"/>
                      <a:pt x="1" y="72"/>
                      <a:pt x="1" y="179"/>
                    </a:cubicBezTo>
                    <a:cubicBezTo>
                      <a:pt x="1" y="275"/>
                      <a:pt x="72" y="358"/>
                      <a:pt x="180" y="358"/>
                    </a:cubicBezTo>
                    <a:lnTo>
                      <a:pt x="1346" y="358"/>
                    </a:lnTo>
                    <a:cubicBezTo>
                      <a:pt x="1442" y="358"/>
                      <a:pt x="1525" y="275"/>
                      <a:pt x="1525" y="179"/>
                    </a:cubicBezTo>
                    <a:cubicBezTo>
                      <a:pt x="1525" y="72"/>
                      <a:pt x="1430" y="1"/>
                      <a:pt x="134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Google Shape;10133;p57">
                <a:extLst>
                  <a:ext uri="{FF2B5EF4-FFF2-40B4-BE49-F238E27FC236}">
                    <a16:creationId xmlns:a16="http://schemas.microsoft.com/office/drawing/2014/main" id="{8D6EDCC8-D9B1-4E51-B414-AD5F06CF02A8}"/>
                  </a:ext>
                </a:extLst>
              </p:cNvPr>
              <p:cNvSpPr/>
              <p:nvPr/>
            </p:nvSpPr>
            <p:spPr>
              <a:xfrm>
                <a:off x="5463762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79" y="1"/>
                    </a:moveTo>
                    <a:cubicBezTo>
                      <a:pt x="72" y="1"/>
                      <a:pt x="0" y="72"/>
                      <a:pt x="0" y="179"/>
                    </a:cubicBezTo>
                    <a:cubicBezTo>
                      <a:pt x="0" y="275"/>
                      <a:pt x="72" y="358"/>
                      <a:pt x="179" y="358"/>
                    </a:cubicBezTo>
                    <a:lnTo>
                      <a:pt x="1334" y="358"/>
                    </a:lnTo>
                    <a:cubicBezTo>
                      <a:pt x="1441" y="358"/>
                      <a:pt x="1512" y="275"/>
                      <a:pt x="1512" y="179"/>
                    </a:cubicBezTo>
                    <a:cubicBezTo>
                      <a:pt x="1524" y="72"/>
                      <a:pt x="1441" y="1"/>
                      <a:pt x="13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Google Shape;10134;p57">
                <a:extLst>
                  <a:ext uri="{FF2B5EF4-FFF2-40B4-BE49-F238E27FC236}">
                    <a16:creationId xmlns:a16="http://schemas.microsoft.com/office/drawing/2014/main" id="{047D8D13-C940-4E12-90AF-7B828581A2AA}"/>
                  </a:ext>
                </a:extLst>
              </p:cNvPr>
              <p:cNvSpPr/>
              <p:nvPr/>
            </p:nvSpPr>
            <p:spPr>
              <a:xfrm>
                <a:off x="5701288" y="5502505"/>
                <a:ext cx="16279" cy="68609"/>
              </a:xfrm>
              <a:custGeom>
                <a:avLst/>
                <a:gdLst/>
                <a:ahLst/>
                <a:cxnLst/>
                <a:rect l="l" t="t" r="r" b="b"/>
                <a:pathLst>
                  <a:path w="359" h="1513" extrusionOk="0">
                    <a:moveTo>
                      <a:pt x="180" y="0"/>
                    </a:moveTo>
                    <a:cubicBezTo>
                      <a:pt x="72" y="0"/>
                      <a:pt x="1" y="72"/>
                      <a:pt x="1" y="179"/>
                    </a:cubicBezTo>
                    <a:lnTo>
                      <a:pt x="1" y="1334"/>
                    </a:lnTo>
                    <a:cubicBezTo>
                      <a:pt x="1" y="1441"/>
                      <a:pt x="72" y="1512"/>
                      <a:pt x="180" y="1512"/>
                    </a:cubicBezTo>
                    <a:cubicBezTo>
                      <a:pt x="275" y="1512"/>
                      <a:pt x="358" y="1441"/>
                      <a:pt x="358" y="1334"/>
                    </a:cubicBezTo>
                    <a:lnTo>
                      <a:pt x="358" y="179"/>
                    </a:lnTo>
                    <a:cubicBezTo>
                      <a:pt x="358" y="72"/>
                      <a:pt x="275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Google Shape;10135;p57">
                <a:extLst>
                  <a:ext uri="{FF2B5EF4-FFF2-40B4-BE49-F238E27FC236}">
                    <a16:creationId xmlns:a16="http://schemas.microsoft.com/office/drawing/2014/main" id="{D9E90294-8DEA-4721-B66F-C5F688052AEC}"/>
                  </a:ext>
                </a:extLst>
              </p:cNvPr>
              <p:cNvSpPr/>
              <p:nvPr/>
            </p:nvSpPr>
            <p:spPr>
              <a:xfrm>
                <a:off x="5791482" y="5557375"/>
                <a:ext cx="32423" cy="39633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74" extrusionOk="0">
                    <a:moveTo>
                      <a:pt x="513" y="0"/>
                    </a:moveTo>
                    <a:cubicBezTo>
                      <a:pt x="451" y="0"/>
                      <a:pt x="387" y="27"/>
                      <a:pt x="346" y="76"/>
                    </a:cubicBezTo>
                    <a:lnTo>
                      <a:pt x="48" y="588"/>
                    </a:lnTo>
                    <a:cubicBezTo>
                      <a:pt x="0" y="671"/>
                      <a:pt x="24" y="778"/>
                      <a:pt x="107" y="838"/>
                    </a:cubicBezTo>
                    <a:cubicBezTo>
                      <a:pt x="131" y="850"/>
                      <a:pt x="167" y="874"/>
                      <a:pt x="191" y="874"/>
                    </a:cubicBezTo>
                    <a:cubicBezTo>
                      <a:pt x="250" y="874"/>
                      <a:pt x="310" y="838"/>
                      <a:pt x="358" y="778"/>
                    </a:cubicBezTo>
                    <a:lnTo>
                      <a:pt x="655" y="278"/>
                    </a:lnTo>
                    <a:cubicBezTo>
                      <a:pt x="715" y="171"/>
                      <a:pt x="691" y="64"/>
                      <a:pt x="596" y="16"/>
                    </a:cubicBezTo>
                    <a:cubicBezTo>
                      <a:pt x="570" y="5"/>
                      <a:pt x="542" y="0"/>
                      <a:pt x="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Google Shape;10136;p57">
                <a:extLst>
                  <a:ext uri="{FF2B5EF4-FFF2-40B4-BE49-F238E27FC236}">
                    <a16:creationId xmlns:a16="http://schemas.microsoft.com/office/drawing/2014/main" id="{DD02263B-FAAE-4D97-8CE8-16CC868AD08C}"/>
                  </a:ext>
                </a:extLst>
              </p:cNvPr>
              <p:cNvSpPr/>
              <p:nvPr/>
            </p:nvSpPr>
            <p:spPr>
              <a:xfrm>
                <a:off x="5593861" y="5899424"/>
                <a:ext cx="32423" cy="39360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68" extrusionOk="0">
                    <a:moveTo>
                      <a:pt x="507" y="0"/>
                    </a:moveTo>
                    <a:cubicBezTo>
                      <a:pt x="444" y="0"/>
                      <a:pt x="387" y="33"/>
                      <a:pt x="346" y="82"/>
                    </a:cubicBezTo>
                    <a:lnTo>
                      <a:pt x="48" y="594"/>
                    </a:lnTo>
                    <a:cubicBezTo>
                      <a:pt x="1" y="677"/>
                      <a:pt x="24" y="784"/>
                      <a:pt x="108" y="844"/>
                    </a:cubicBezTo>
                    <a:cubicBezTo>
                      <a:pt x="132" y="855"/>
                      <a:pt x="155" y="867"/>
                      <a:pt x="191" y="867"/>
                    </a:cubicBezTo>
                    <a:cubicBezTo>
                      <a:pt x="251" y="867"/>
                      <a:pt x="310" y="844"/>
                      <a:pt x="358" y="784"/>
                    </a:cubicBezTo>
                    <a:lnTo>
                      <a:pt x="655" y="272"/>
                    </a:lnTo>
                    <a:cubicBezTo>
                      <a:pt x="715" y="189"/>
                      <a:pt x="679" y="82"/>
                      <a:pt x="596" y="22"/>
                    </a:cubicBezTo>
                    <a:cubicBezTo>
                      <a:pt x="566" y="7"/>
                      <a:pt x="536" y="0"/>
                      <a:pt x="50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Google Shape;10137;p57">
                <a:extLst>
                  <a:ext uri="{FF2B5EF4-FFF2-40B4-BE49-F238E27FC236}">
                    <a16:creationId xmlns:a16="http://schemas.microsoft.com/office/drawing/2014/main" id="{00A0DC16-D216-47E6-BA23-A5481C2EDD93}"/>
                  </a:ext>
                </a:extLst>
              </p:cNvPr>
              <p:cNvSpPr/>
              <p:nvPr/>
            </p:nvSpPr>
            <p:spPr>
              <a:xfrm>
                <a:off x="5593861" y="5556739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13" y="1"/>
                    </a:moveTo>
                    <a:cubicBezTo>
                      <a:pt x="181" y="1"/>
                      <a:pt x="148" y="10"/>
                      <a:pt x="120" y="30"/>
                    </a:cubicBezTo>
                    <a:cubicBezTo>
                      <a:pt x="24" y="78"/>
                      <a:pt x="1" y="197"/>
                      <a:pt x="60" y="292"/>
                    </a:cubicBezTo>
                    <a:lnTo>
                      <a:pt x="358" y="792"/>
                    </a:lnTo>
                    <a:cubicBezTo>
                      <a:pt x="382" y="852"/>
                      <a:pt x="441" y="888"/>
                      <a:pt x="525" y="888"/>
                    </a:cubicBezTo>
                    <a:cubicBezTo>
                      <a:pt x="548" y="888"/>
                      <a:pt x="584" y="864"/>
                      <a:pt x="608" y="852"/>
                    </a:cubicBezTo>
                    <a:cubicBezTo>
                      <a:pt x="679" y="792"/>
                      <a:pt x="715" y="685"/>
                      <a:pt x="667" y="602"/>
                    </a:cubicBezTo>
                    <a:lnTo>
                      <a:pt x="370" y="90"/>
                    </a:lnTo>
                    <a:cubicBezTo>
                      <a:pt x="338" y="35"/>
                      <a:pt x="276" y="1"/>
                      <a:pt x="2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Google Shape;10138;p57">
                <a:extLst>
                  <a:ext uri="{FF2B5EF4-FFF2-40B4-BE49-F238E27FC236}">
                    <a16:creationId xmlns:a16="http://schemas.microsoft.com/office/drawing/2014/main" id="{FAD35447-FD44-4340-8486-6432F32C08CC}"/>
                  </a:ext>
                </a:extLst>
              </p:cNvPr>
              <p:cNvSpPr/>
              <p:nvPr/>
            </p:nvSpPr>
            <p:spPr>
              <a:xfrm>
                <a:off x="5791482" y="5899605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21" y="0"/>
                    </a:moveTo>
                    <a:cubicBezTo>
                      <a:pt x="187" y="0"/>
                      <a:pt x="152" y="10"/>
                      <a:pt x="119" y="30"/>
                    </a:cubicBezTo>
                    <a:cubicBezTo>
                      <a:pt x="24" y="78"/>
                      <a:pt x="0" y="197"/>
                      <a:pt x="60" y="292"/>
                    </a:cubicBezTo>
                    <a:lnTo>
                      <a:pt x="358" y="792"/>
                    </a:lnTo>
                    <a:cubicBezTo>
                      <a:pt x="393" y="851"/>
                      <a:pt x="453" y="887"/>
                      <a:pt x="524" y="887"/>
                    </a:cubicBezTo>
                    <a:cubicBezTo>
                      <a:pt x="548" y="887"/>
                      <a:pt x="584" y="863"/>
                      <a:pt x="608" y="851"/>
                    </a:cubicBezTo>
                    <a:cubicBezTo>
                      <a:pt x="691" y="792"/>
                      <a:pt x="715" y="673"/>
                      <a:pt x="667" y="601"/>
                    </a:cubicBezTo>
                    <a:lnTo>
                      <a:pt x="369" y="89"/>
                    </a:lnTo>
                    <a:cubicBezTo>
                      <a:pt x="346" y="35"/>
                      <a:pt x="286" y="0"/>
                      <a:pt x="2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Google Shape;10139;p57">
                <a:extLst>
                  <a:ext uri="{FF2B5EF4-FFF2-40B4-BE49-F238E27FC236}">
                    <a16:creationId xmlns:a16="http://schemas.microsoft.com/office/drawing/2014/main" id="{D00CCF70-B3B0-4872-8AE7-BCB776311F07}"/>
                  </a:ext>
                </a:extLst>
              </p:cNvPr>
              <p:cNvSpPr/>
              <p:nvPr/>
            </p:nvSpPr>
            <p:spPr>
              <a:xfrm>
                <a:off x="5859501" y="5831947"/>
                <a:ext cx="42172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30" h="665" extrusionOk="0">
                    <a:moveTo>
                      <a:pt x="215" y="0"/>
                    </a:moveTo>
                    <a:cubicBezTo>
                      <a:pt x="152" y="0"/>
                      <a:pt x="89" y="32"/>
                      <a:pt x="48" y="81"/>
                    </a:cubicBezTo>
                    <a:cubicBezTo>
                      <a:pt x="1" y="177"/>
                      <a:pt x="36" y="272"/>
                      <a:pt x="108" y="331"/>
                    </a:cubicBezTo>
                    <a:lnTo>
                      <a:pt x="608" y="629"/>
                    </a:lnTo>
                    <a:cubicBezTo>
                      <a:pt x="643" y="653"/>
                      <a:pt x="667" y="665"/>
                      <a:pt x="703" y="665"/>
                    </a:cubicBezTo>
                    <a:cubicBezTo>
                      <a:pt x="763" y="665"/>
                      <a:pt x="822" y="629"/>
                      <a:pt x="870" y="569"/>
                    </a:cubicBezTo>
                    <a:cubicBezTo>
                      <a:pt x="929" y="486"/>
                      <a:pt x="893" y="367"/>
                      <a:pt x="810" y="319"/>
                    </a:cubicBezTo>
                    <a:lnTo>
                      <a:pt x="298" y="22"/>
                    </a:lnTo>
                    <a:cubicBezTo>
                      <a:pt x="272" y="7"/>
                      <a:pt x="244" y="0"/>
                      <a:pt x="2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Google Shape;10140;p57">
                <a:extLst>
                  <a:ext uri="{FF2B5EF4-FFF2-40B4-BE49-F238E27FC236}">
                    <a16:creationId xmlns:a16="http://schemas.microsoft.com/office/drawing/2014/main" id="{D587F7EF-1291-43E3-86D6-D2361BCB7760}"/>
                  </a:ext>
                </a:extLst>
              </p:cNvPr>
              <p:cNvSpPr/>
              <p:nvPr/>
            </p:nvSpPr>
            <p:spPr>
              <a:xfrm>
                <a:off x="5516681" y="5634328"/>
                <a:ext cx="42126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65" extrusionOk="0">
                    <a:moveTo>
                      <a:pt x="214" y="0"/>
                    </a:moveTo>
                    <a:cubicBezTo>
                      <a:pt x="152" y="0"/>
                      <a:pt x="89" y="33"/>
                      <a:pt x="48" y="82"/>
                    </a:cubicBezTo>
                    <a:cubicBezTo>
                      <a:pt x="0" y="165"/>
                      <a:pt x="36" y="272"/>
                      <a:pt x="107" y="332"/>
                    </a:cubicBezTo>
                    <a:lnTo>
                      <a:pt x="619" y="629"/>
                    </a:lnTo>
                    <a:cubicBezTo>
                      <a:pt x="643" y="641"/>
                      <a:pt x="667" y="665"/>
                      <a:pt x="703" y="665"/>
                    </a:cubicBezTo>
                    <a:cubicBezTo>
                      <a:pt x="762" y="665"/>
                      <a:pt x="822" y="629"/>
                      <a:pt x="869" y="570"/>
                    </a:cubicBezTo>
                    <a:cubicBezTo>
                      <a:pt x="929" y="463"/>
                      <a:pt x="893" y="367"/>
                      <a:pt x="810" y="320"/>
                    </a:cubicBezTo>
                    <a:lnTo>
                      <a:pt x="298" y="22"/>
                    </a:lnTo>
                    <a:cubicBezTo>
                      <a:pt x="272" y="7"/>
                      <a:pt x="243" y="0"/>
                      <a:pt x="21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Google Shape;10141;p57">
                <a:extLst>
                  <a:ext uri="{FF2B5EF4-FFF2-40B4-BE49-F238E27FC236}">
                    <a16:creationId xmlns:a16="http://schemas.microsoft.com/office/drawing/2014/main" id="{3EF12144-EF78-40C8-8111-9AFDA0E97BBC}"/>
                  </a:ext>
                </a:extLst>
              </p:cNvPr>
              <p:cNvSpPr/>
              <p:nvPr/>
            </p:nvSpPr>
            <p:spPr>
              <a:xfrm>
                <a:off x="5858957" y="5634509"/>
                <a:ext cx="4271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73" extrusionOk="0">
                    <a:moveTo>
                      <a:pt x="725" y="0"/>
                    </a:moveTo>
                    <a:cubicBezTo>
                      <a:pt x="693" y="0"/>
                      <a:pt x="660" y="10"/>
                      <a:pt x="632" y="30"/>
                    </a:cubicBezTo>
                    <a:lnTo>
                      <a:pt x="120" y="328"/>
                    </a:lnTo>
                    <a:cubicBezTo>
                      <a:pt x="36" y="375"/>
                      <a:pt x="1" y="494"/>
                      <a:pt x="60" y="578"/>
                    </a:cubicBezTo>
                    <a:cubicBezTo>
                      <a:pt x="96" y="637"/>
                      <a:pt x="155" y="673"/>
                      <a:pt x="227" y="673"/>
                    </a:cubicBezTo>
                    <a:cubicBezTo>
                      <a:pt x="251" y="673"/>
                      <a:pt x="286" y="661"/>
                      <a:pt x="310" y="637"/>
                    </a:cubicBezTo>
                    <a:lnTo>
                      <a:pt x="822" y="340"/>
                    </a:lnTo>
                    <a:cubicBezTo>
                      <a:pt x="905" y="280"/>
                      <a:pt x="941" y="161"/>
                      <a:pt x="882" y="89"/>
                    </a:cubicBezTo>
                    <a:cubicBezTo>
                      <a:pt x="850" y="35"/>
                      <a:pt x="788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Google Shape;10142;p57">
                <a:extLst>
                  <a:ext uri="{FF2B5EF4-FFF2-40B4-BE49-F238E27FC236}">
                    <a16:creationId xmlns:a16="http://schemas.microsoft.com/office/drawing/2014/main" id="{DC552FB1-8FC2-492C-90E8-49713B4B5F00}"/>
                  </a:ext>
                </a:extLst>
              </p:cNvPr>
              <p:cNvSpPr/>
              <p:nvPr/>
            </p:nvSpPr>
            <p:spPr>
              <a:xfrm>
                <a:off x="5516681" y="5832129"/>
                <a:ext cx="4212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73" extrusionOk="0">
                    <a:moveTo>
                      <a:pt x="725" y="0"/>
                    </a:moveTo>
                    <a:cubicBezTo>
                      <a:pt x="692" y="0"/>
                      <a:pt x="660" y="9"/>
                      <a:pt x="631" y="30"/>
                    </a:cubicBezTo>
                    <a:lnTo>
                      <a:pt x="119" y="327"/>
                    </a:lnTo>
                    <a:cubicBezTo>
                      <a:pt x="36" y="375"/>
                      <a:pt x="0" y="494"/>
                      <a:pt x="60" y="589"/>
                    </a:cubicBezTo>
                    <a:cubicBezTo>
                      <a:pt x="95" y="649"/>
                      <a:pt x="155" y="673"/>
                      <a:pt x="226" y="673"/>
                    </a:cubicBezTo>
                    <a:cubicBezTo>
                      <a:pt x="262" y="673"/>
                      <a:pt x="286" y="661"/>
                      <a:pt x="322" y="649"/>
                    </a:cubicBezTo>
                    <a:lnTo>
                      <a:pt x="822" y="351"/>
                    </a:lnTo>
                    <a:cubicBezTo>
                      <a:pt x="893" y="292"/>
                      <a:pt x="929" y="173"/>
                      <a:pt x="881" y="89"/>
                    </a:cubicBezTo>
                    <a:cubicBezTo>
                      <a:pt x="850" y="34"/>
                      <a:pt x="787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56926-0B32-C96F-95E6-E5EC709C5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D46381B-C4F2-4526-9B44-10C334C3E1DE}"/>
              </a:ext>
            </a:extLst>
          </p:cNvPr>
          <p:cNvGrpSpPr/>
          <p:nvPr/>
        </p:nvGrpSpPr>
        <p:grpSpPr>
          <a:xfrm>
            <a:off x="10931492" y="2082920"/>
            <a:ext cx="289650" cy="257508"/>
            <a:chOff x="10931492" y="2340619"/>
            <a:chExt cx="289650" cy="257508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A142EB68-0F8E-4143-A767-7EA334EB7371}"/>
                </a:ext>
              </a:extLst>
            </p:cNvPr>
            <p:cNvSpPr>
              <a:spLocks/>
            </p:cNvSpPr>
            <p:nvPr/>
          </p:nvSpPr>
          <p:spPr>
            <a:xfrm>
              <a:off x="10931492" y="2340619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94" name="Target Graphic 45 (2)">
              <a:extLst>
                <a:ext uri="{FF2B5EF4-FFF2-40B4-BE49-F238E27FC236}">
                  <a16:creationId xmlns:a16="http://schemas.microsoft.com/office/drawing/2014/main" id="{18A2A5EE-251B-4505-B053-682C95BD63BC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0988222" y="2381277"/>
              <a:ext cx="176191" cy="176191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2298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ct 111" hidden="1">
            <a:extLst>
              <a:ext uri="{FF2B5EF4-FFF2-40B4-BE49-F238E27FC236}">
                <a16:creationId xmlns:a16="http://schemas.microsoft.com/office/drawing/2014/main" id="{42D6783D-FC86-46BB-81A7-105524F92A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9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12" name="Object 111" hidden="1">
                        <a:extLst>
                          <a:ext uri="{FF2B5EF4-FFF2-40B4-BE49-F238E27FC236}">
                            <a16:creationId xmlns:a16="http://schemas.microsoft.com/office/drawing/2014/main" id="{42D6783D-FC86-46BB-81A7-105524F92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1A0829C3-C86B-4668-B867-780EE863AFE1}"/>
              </a:ext>
            </a:extLst>
          </p:cNvPr>
          <p:cNvGrpSpPr/>
          <p:nvPr/>
        </p:nvGrpSpPr>
        <p:grpSpPr>
          <a:xfrm>
            <a:off x="4440000" y="2099351"/>
            <a:ext cx="3312000" cy="1675897"/>
            <a:chOff x="617534" y="1315725"/>
            <a:chExt cx="6012001" cy="2151159"/>
          </a:xfrm>
        </p:grpSpPr>
        <p:sp>
          <p:nvSpPr>
            <p:cNvPr id="57" name="TextBox 4">
              <a:extLst>
                <a:ext uri="{FF2B5EF4-FFF2-40B4-BE49-F238E27FC236}">
                  <a16:creationId xmlns:a16="http://schemas.microsoft.com/office/drawing/2014/main" id="{C9D8BE34-6061-4A8F-921F-8E4D9B54A5B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317243"/>
              <a:ext cx="6012001" cy="21496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ut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Understand legislative constraints and prioritise data sources to obtai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Set up automatic transfers of information between the Commission and external agencies and providers, so that information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s structured,</a:t>
              </a:r>
              <a:r>
                <a:rPr kumimoji="0" lang="en-US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 consistent and accessible</a:t>
              </a: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8177ED5-EAC0-43B3-BC37-E6676370150C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6" y="1315725"/>
              <a:ext cx="6011999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20DA3D-41AD-4F62-8E35-700CCD1C4C13}"/>
              </a:ext>
            </a:extLst>
          </p:cNvPr>
          <p:cNvGrpSpPr/>
          <p:nvPr/>
        </p:nvGrpSpPr>
        <p:grpSpPr>
          <a:xfrm>
            <a:off x="982663" y="2079488"/>
            <a:ext cx="3312000" cy="1696947"/>
            <a:chOff x="617534" y="1288703"/>
            <a:chExt cx="6012001" cy="2178179"/>
          </a:xfrm>
        </p:grpSpPr>
        <p:sp>
          <p:nvSpPr>
            <p:cNvPr id="70" name="TextBox 4">
              <a:extLst>
                <a:ext uri="{FF2B5EF4-FFF2-40B4-BE49-F238E27FC236}">
                  <a16:creationId xmlns:a16="http://schemas.microsoft.com/office/drawing/2014/main" id="{DABC1CF3-528E-4771-BEF1-6B07AE476073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288703"/>
              <a:ext cx="6012001" cy="21781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blem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Information sharing with external agencies (NDIA, </a:t>
              </a: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Police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, Aged </a:t>
              </a: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Care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, etc.) is </a:t>
              </a:r>
              <a:r>
                <a:rPr lang="en-GB" sz="1000" dirty="0">
                  <a:solidFill>
                    <a:prstClr val="black"/>
                  </a:solidFill>
                  <a:latin typeface="Calibri" panose="020F0502020204030204"/>
                  <a:cs typeface="Calibri"/>
                </a:rPr>
                <a:t>difficult and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 limits the Commission’s ability to safeguard participant rights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Changes 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in information sharing legislation may result in opportunities for data sharing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D838BA-A124-460C-B48C-282BEA6CE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6" y="1315715"/>
              <a:ext cx="6011999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613E042-6CFD-40D8-96D1-8C0C76A4874E}"/>
              </a:ext>
            </a:extLst>
          </p:cNvPr>
          <p:cNvSpPr txBox="1">
            <a:spLocks/>
          </p:cNvSpPr>
          <p:nvPr/>
        </p:nvSpPr>
        <p:spPr>
          <a:xfrm>
            <a:off x="11718924" y="6658264"/>
            <a:ext cx="492551" cy="3521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I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A3798C-DB7A-4257-BDE6-DD298EB65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3. </a:t>
            </a:r>
            <a:r>
              <a:rPr lang="en-GB" dirty="0" smtClean="0"/>
              <a:t>External interfaces</a:t>
            </a:r>
            <a:endParaRPr lang="en-GB" dirty="0"/>
          </a:p>
        </p:txBody>
      </p:sp>
      <p:sp>
        <p:nvSpPr>
          <p:cNvPr id="54" name="Rectangle 10">
            <a:extLst>
              <a:ext uri="{FF2B5EF4-FFF2-40B4-BE49-F238E27FC236}">
                <a16:creationId xmlns:a16="http://schemas.microsoft.com/office/drawing/2014/main" id="{374652A6-5705-4BB8-9ADD-09696A31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2" y="1562826"/>
            <a:ext cx="1023445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tream overview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46B59AEF-8C95-429D-95D2-445CBD85E983}"/>
              </a:ext>
            </a:extLst>
          </p:cNvPr>
          <p:cNvGrpSpPr/>
          <p:nvPr/>
        </p:nvGrpSpPr>
        <p:grpSpPr>
          <a:xfrm>
            <a:off x="982662" y="3865836"/>
            <a:ext cx="6769337" cy="1533951"/>
            <a:chOff x="603685" y="1651115"/>
            <a:chExt cx="6012001" cy="1973728"/>
          </a:xfrm>
        </p:grpSpPr>
        <p:sp>
          <p:nvSpPr>
            <p:cNvPr id="96" name="TextBox 4">
              <a:extLst>
                <a:ext uri="{FF2B5EF4-FFF2-40B4-BE49-F238E27FC236}">
                  <a16:creationId xmlns:a16="http://schemas.microsoft.com/office/drawing/2014/main" id="{F9E38435-8F28-4C3A-B13E-1E37E00C2D02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03685" y="1655600"/>
              <a:ext cx="6011999" cy="19692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utcomes</a:t>
              </a: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Participants: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 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roved participant outcomes through improved ability to identify risk and intervene</a:t>
              </a: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Providers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: Only need to provide information once to Commission, direct transfer from their systems</a:t>
              </a: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Commission staff: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 Time saved obtaining external information</a:t>
              </a:r>
              <a:endPara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B16C8DB7-CFE4-433F-B545-09056445626B}"/>
                </a:ext>
              </a:extLst>
            </p:cNvPr>
            <p:cNvCxnSpPr>
              <a:cxnSpLocks/>
            </p:cNvCxnSpPr>
            <p:nvPr/>
          </p:nvCxnSpPr>
          <p:spPr>
            <a:xfrm>
              <a:off x="603685" y="1651115"/>
              <a:ext cx="6012001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BF8EF5F5-6DE7-402E-A412-E8C53B79EA2B}"/>
              </a:ext>
            </a:extLst>
          </p:cNvPr>
          <p:cNvGrpSpPr/>
          <p:nvPr/>
        </p:nvGrpSpPr>
        <p:grpSpPr>
          <a:xfrm>
            <a:off x="7468250" y="3868229"/>
            <a:ext cx="289650" cy="257508"/>
            <a:chOff x="10962167" y="2469373"/>
            <a:chExt cx="289650" cy="257508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6F9ACC9C-32A1-4663-B108-708FC57FAC2A}"/>
                </a:ext>
              </a:extLst>
            </p:cNvPr>
            <p:cNvSpPr>
              <a:spLocks/>
            </p:cNvSpPr>
            <p:nvPr/>
          </p:nvSpPr>
          <p:spPr>
            <a:xfrm>
              <a:off x="10962167" y="2469373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29" name="Handshake Google Shape;13584;p63">
              <a:extLst>
                <a:ext uri="{FF2B5EF4-FFF2-40B4-BE49-F238E27FC236}">
                  <a16:creationId xmlns:a16="http://schemas.microsoft.com/office/drawing/2014/main" id="{6E6DB1FC-A402-4D01-A5B2-164830AB076A}"/>
                </a:ext>
              </a:extLst>
            </p:cNvPr>
            <p:cNvGrpSpPr>
              <a:grpSpLocks/>
            </p:cNvGrpSpPr>
            <p:nvPr>
              <p:custDataLst>
                <p:tags r:id="rId6"/>
              </p:custDataLst>
            </p:nvPr>
          </p:nvGrpSpPr>
          <p:grpSpPr>
            <a:xfrm>
              <a:off x="11022155" y="2511137"/>
              <a:ext cx="180696" cy="153070"/>
              <a:chOff x="3693404" y="2679504"/>
              <a:chExt cx="436113" cy="369438"/>
            </a:xfrm>
            <a:solidFill>
              <a:srgbClr val="FFFFFF"/>
            </a:solidFill>
          </p:grpSpPr>
          <p:sp>
            <p:nvSpPr>
              <p:cNvPr id="131" name="Google Shape;13585;p63">
                <a:extLst>
                  <a:ext uri="{FF2B5EF4-FFF2-40B4-BE49-F238E27FC236}">
                    <a16:creationId xmlns:a16="http://schemas.microsoft.com/office/drawing/2014/main" id="{A9F8ACED-8273-4187-9CB8-C33AEBB8DA10}"/>
                  </a:ext>
                </a:extLst>
              </p:cNvPr>
              <p:cNvSpPr/>
              <p:nvPr/>
            </p:nvSpPr>
            <p:spPr>
              <a:xfrm>
                <a:off x="3693404" y="2698049"/>
                <a:ext cx="436113" cy="350893"/>
              </a:xfrm>
              <a:custGeom>
                <a:avLst/>
                <a:gdLst/>
                <a:ahLst/>
                <a:cxnLst/>
                <a:rect l="l" t="t" r="r" b="b"/>
                <a:pathLst>
                  <a:path w="10276" h="8268" extrusionOk="0">
                    <a:moveTo>
                      <a:pt x="6251" y="2267"/>
                    </a:moveTo>
                    <a:lnTo>
                      <a:pt x="7061" y="2541"/>
                    </a:lnTo>
                    <a:cubicBezTo>
                      <a:pt x="7073" y="2544"/>
                      <a:pt x="7086" y="2545"/>
                      <a:pt x="7098" y="2545"/>
                    </a:cubicBezTo>
                    <a:cubicBezTo>
                      <a:pt x="7136" y="2545"/>
                      <a:pt x="7174" y="2532"/>
                      <a:pt x="7192" y="2505"/>
                    </a:cubicBezTo>
                    <a:lnTo>
                      <a:pt x="7454" y="2314"/>
                    </a:lnTo>
                    <a:lnTo>
                      <a:pt x="9240" y="4660"/>
                    </a:lnTo>
                    <a:lnTo>
                      <a:pt x="8978" y="4874"/>
                    </a:lnTo>
                    <a:cubicBezTo>
                      <a:pt x="8966" y="4862"/>
                      <a:pt x="8942" y="4839"/>
                      <a:pt x="8930" y="4839"/>
                    </a:cubicBezTo>
                    <a:lnTo>
                      <a:pt x="5811" y="3148"/>
                    </a:lnTo>
                    <a:lnTo>
                      <a:pt x="5930" y="2969"/>
                    </a:lnTo>
                    <a:cubicBezTo>
                      <a:pt x="5978" y="2898"/>
                      <a:pt x="5966" y="2803"/>
                      <a:pt x="5894" y="2755"/>
                    </a:cubicBezTo>
                    <a:cubicBezTo>
                      <a:pt x="5864" y="2742"/>
                      <a:pt x="5834" y="2735"/>
                      <a:pt x="5806" y="2735"/>
                    </a:cubicBezTo>
                    <a:cubicBezTo>
                      <a:pt x="5756" y="2735"/>
                      <a:pt x="5710" y="2757"/>
                      <a:pt x="5680" y="2803"/>
                    </a:cubicBezTo>
                    <a:lnTo>
                      <a:pt x="5358" y="3326"/>
                    </a:lnTo>
                    <a:cubicBezTo>
                      <a:pt x="5335" y="3350"/>
                      <a:pt x="5323" y="3374"/>
                      <a:pt x="5323" y="3398"/>
                    </a:cubicBezTo>
                    <a:lnTo>
                      <a:pt x="5323" y="4684"/>
                    </a:lnTo>
                    <a:cubicBezTo>
                      <a:pt x="5323" y="4946"/>
                      <a:pt x="5097" y="5172"/>
                      <a:pt x="4835" y="5172"/>
                    </a:cubicBezTo>
                    <a:cubicBezTo>
                      <a:pt x="4561" y="5172"/>
                      <a:pt x="4346" y="4946"/>
                      <a:pt x="4346" y="4684"/>
                    </a:cubicBezTo>
                    <a:lnTo>
                      <a:pt x="4346" y="3410"/>
                    </a:lnTo>
                    <a:lnTo>
                      <a:pt x="4620" y="2267"/>
                    </a:lnTo>
                    <a:close/>
                    <a:moveTo>
                      <a:pt x="2680" y="1767"/>
                    </a:moveTo>
                    <a:lnTo>
                      <a:pt x="2918" y="1898"/>
                    </a:lnTo>
                    <a:lnTo>
                      <a:pt x="941" y="5303"/>
                    </a:lnTo>
                    <a:lnTo>
                      <a:pt x="703" y="5172"/>
                    </a:lnTo>
                    <a:lnTo>
                      <a:pt x="2680" y="1767"/>
                    </a:lnTo>
                    <a:close/>
                    <a:moveTo>
                      <a:pt x="3180" y="4743"/>
                    </a:moveTo>
                    <a:cubicBezTo>
                      <a:pt x="3287" y="4743"/>
                      <a:pt x="3370" y="4779"/>
                      <a:pt x="3442" y="4874"/>
                    </a:cubicBezTo>
                    <a:cubicBezTo>
                      <a:pt x="3561" y="5017"/>
                      <a:pt x="3525" y="5231"/>
                      <a:pt x="3370" y="5339"/>
                    </a:cubicBezTo>
                    <a:lnTo>
                      <a:pt x="2322" y="6112"/>
                    </a:lnTo>
                    <a:cubicBezTo>
                      <a:pt x="2262" y="6150"/>
                      <a:pt x="2194" y="6169"/>
                      <a:pt x="2127" y="6169"/>
                    </a:cubicBezTo>
                    <a:cubicBezTo>
                      <a:pt x="2023" y="6169"/>
                      <a:pt x="1923" y="6123"/>
                      <a:pt x="1858" y="6029"/>
                    </a:cubicBezTo>
                    <a:cubicBezTo>
                      <a:pt x="1751" y="5886"/>
                      <a:pt x="1787" y="5672"/>
                      <a:pt x="1929" y="5565"/>
                    </a:cubicBezTo>
                    <a:lnTo>
                      <a:pt x="2989" y="4803"/>
                    </a:lnTo>
                    <a:cubicBezTo>
                      <a:pt x="3049" y="4755"/>
                      <a:pt x="3120" y="4743"/>
                      <a:pt x="3180" y="4743"/>
                    </a:cubicBezTo>
                    <a:close/>
                    <a:moveTo>
                      <a:pt x="3775" y="5493"/>
                    </a:moveTo>
                    <a:cubicBezTo>
                      <a:pt x="3870" y="5493"/>
                      <a:pt x="3954" y="5553"/>
                      <a:pt x="4013" y="5636"/>
                    </a:cubicBezTo>
                    <a:cubicBezTo>
                      <a:pt x="4132" y="5779"/>
                      <a:pt x="4085" y="5993"/>
                      <a:pt x="3942" y="6089"/>
                    </a:cubicBezTo>
                    <a:lnTo>
                      <a:pt x="3132" y="6708"/>
                    </a:lnTo>
                    <a:cubicBezTo>
                      <a:pt x="3076" y="6745"/>
                      <a:pt x="3013" y="6764"/>
                      <a:pt x="2949" y="6764"/>
                    </a:cubicBezTo>
                    <a:cubicBezTo>
                      <a:pt x="2851" y="6764"/>
                      <a:pt x="2752" y="6718"/>
                      <a:pt x="2680" y="6624"/>
                    </a:cubicBezTo>
                    <a:cubicBezTo>
                      <a:pt x="2572" y="6482"/>
                      <a:pt x="2596" y="6255"/>
                      <a:pt x="2751" y="6148"/>
                    </a:cubicBezTo>
                    <a:lnTo>
                      <a:pt x="3537" y="5589"/>
                    </a:lnTo>
                    <a:cubicBezTo>
                      <a:pt x="3573" y="5565"/>
                      <a:pt x="3596" y="5541"/>
                      <a:pt x="3620" y="5529"/>
                    </a:cubicBezTo>
                    <a:cubicBezTo>
                      <a:pt x="3668" y="5517"/>
                      <a:pt x="3715" y="5493"/>
                      <a:pt x="3775" y="5493"/>
                    </a:cubicBezTo>
                    <a:close/>
                    <a:moveTo>
                      <a:pt x="4359" y="6281"/>
                    </a:moveTo>
                    <a:cubicBezTo>
                      <a:pt x="4454" y="6281"/>
                      <a:pt x="4550" y="6321"/>
                      <a:pt x="4620" y="6398"/>
                    </a:cubicBezTo>
                    <a:cubicBezTo>
                      <a:pt x="4739" y="6553"/>
                      <a:pt x="4704" y="6755"/>
                      <a:pt x="4549" y="6863"/>
                    </a:cubicBezTo>
                    <a:lnTo>
                      <a:pt x="3954" y="7303"/>
                    </a:lnTo>
                    <a:cubicBezTo>
                      <a:pt x="3898" y="7331"/>
                      <a:pt x="3829" y="7358"/>
                      <a:pt x="3767" y="7358"/>
                    </a:cubicBezTo>
                    <a:cubicBezTo>
                      <a:pt x="3749" y="7358"/>
                      <a:pt x="3732" y="7356"/>
                      <a:pt x="3715" y="7351"/>
                    </a:cubicBezTo>
                    <a:cubicBezTo>
                      <a:pt x="3620" y="7339"/>
                      <a:pt x="3549" y="7303"/>
                      <a:pt x="3513" y="7220"/>
                    </a:cubicBezTo>
                    <a:cubicBezTo>
                      <a:pt x="3406" y="7077"/>
                      <a:pt x="3430" y="6863"/>
                      <a:pt x="3584" y="6755"/>
                    </a:cubicBezTo>
                    <a:lnTo>
                      <a:pt x="4144" y="6363"/>
                    </a:lnTo>
                    <a:lnTo>
                      <a:pt x="4168" y="6339"/>
                    </a:lnTo>
                    <a:cubicBezTo>
                      <a:pt x="4226" y="6300"/>
                      <a:pt x="4292" y="6281"/>
                      <a:pt x="4359" y="6281"/>
                    </a:cubicBezTo>
                    <a:close/>
                    <a:moveTo>
                      <a:pt x="2870" y="2553"/>
                    </a:moveTo>
                    <a:lnTo>
                      <a:pt x="3156" y="2707"/>
                    </a:lnTo>
                    <a:cubicBezTo>
                      <a:pt x="3173" y="2725"/>
                      <a:pt x="3197" y="2736"/>
                      <a:pt x="3218" y="2736"/>
                    </a:cubicBezTo>
                    <a:cubicBezTo>
                      <a:pt x="3226" y="2736"/>
                      <a:pt x="3233" y="2734"/>
                      <a:pt x="3239" y="2731"/>
                    </a:cubicBezTo>
                    <a:lnTo>
                      <a:pt x="3942" y="2636"/>
                    </a:lnTo>
                    <a:lnTo>
                      <a:pt x="4192" y="2743"/>
                    </a:lnTo>
                    <a:lnTo>
                      <a:pt x="4049" y="3338"/>
                    </a:lnTo>
                    <a:lnTo>
                      <a:pt x="4049" y="3362"/>
                    </a:lnTo>
                    <a:lnTo>
                      <a:pt x="4049" y="4648"/>
                    </a:lnTo>
                    <a:cubicBezTo>
                      <a:pt x="4049" y="5077"/>
                      <a:pt x="4406" y="5434"/>
                      <a:pt x="4835" y="5434"/>
                    </a:cubicBezTo>
                    <a:cubicBezTo>
                      <a:pt x="5263" y="5434"/>
                      <a:pt x="5620" y="5077"/>
                      <a:pt x="5620" y="4648"/>
                    </a:cubicBezTo>
                    <a:lnTo>
                      <a:pt x="5620" y="3410"/>
                    </a:lnTo>
                    <a:lnTo>
                      <a:pt x="5656" y="3362"/>
                    </a:lnTo>
                    <a:lnTo>
                      <a:pt x="8776" y="5065"/>
                    </a:lnTo>
                    <a:cubicBezTo>
                      <a:pt x="8942" y="5184"/>
                      <a:pt x="9002" y="5374"/>
                      <a:pt x="8907" y="5541"/>
                    </a:cubicBezTo>
                    <a:cubicBezTo>
                      <a:pt x="8850" y="5654"/>
                      <a:pt x="8745" y="5717"/>
                      <a:pt x="8631" y="5717"/>
                    </a:cubicBezTo>
                    <a:cubicBezTo>
                      <a:pt x="8576" y="5717"/>
                      <a:pt x="8520" y="5703"/>
                      <a:pt x="8466" y="5672"/>
                    </a:cubicBezTo>
                    <a:lnTo>
                      <a:pt x="6740" y="4743"/>
                    </a:lnTo>
                    <a:cubicBezTo>
                      <a:pt x="6711" y="4727"/>
                      <a:pt x="6682" y="4719"/>
                      <a:pt x="6655" y="4719"/>
                    </a:cubicBezTo>
                    <a:cubicBezTo>
                      <a:pt x="6603" y="4719"/>
                      <a:pt x="6557" y="4748"/>
                      <a:pt x="6525" y="4803"/>
                    </a:cubicBezTo>
                    <a:cubicBezTo>
                      <a:pt x="6490" y="4874"/>
                      <a:pt x="6513" y="4958"/>
                      <a:pt x="6585" y="5005"/>
                    </a:cubicBezTo>
                    <a:lnTo>
                      <a:pt x="8037" y="5791"/>
                    </a:lnTo>
                    <a:cubicBezTo>
                      <a:pt x="8192" y="5886"/>
                      <a:pt x="8252" y="6077"/>
                      <a:pt x="8168" y="6243"/>
                    </a:cubicBezTo>
                    <a:cubicBezTo>
                      <a:pt x="8104" y="6356"/>
                      <a:pt x="7996" y="6415"/>
                      <a:pt x="7881" y="6415"/>
                    </a:cubicBezTo>
                    <a:cubicBezTo>
                      <a:pt x="7826" y="6415"/>
                      <a:pt x="7770" y="6401"/>
                      <a:pt x="7716" y="6374"/>
                    </a:cubicBezTo>
                    <a:lnTo>
                      <a:pt x="6251" y="5565"/>
                    </a:lnTo>
                    <a:cubicBezTo>
                      <a:pt x="6226" y="5554"/>
                      <a:pt x="6200" y="5548"/>
                      <a:pt x="6175" y="5548"/>
                    </a:cubicBezTo>
                    <a:cubicBezTo>
                      <a:pt x="6120" y="5548"/>
                      <a:pt x="6070" y="5575"/>
                      <a:pt x="6037" y="5624"/>
                    </a:cubicBezTo>
                    <a:cubicBezTo>
                      <a:pt x="5990" y="5708"/>
                      <a:pt x="6025" y="5791"/>
                      <a:pt x="6097" y="5839"/>
                    </a:cubicBezTo>
                    <a:lnTo>
                      <a:pt x="7287" y="6493"/>
                    </a:lnTo>
                    <a:cubicBezTo>
                      <a:pt x="7454" y="6577"/>
                      <a:pt x="7514" y="6779"/>
                      <a:pt x="7418" y="6934"/>
                    </a:cubicBezTo>
                    <a:cubicBezTo>
                      <a:pt x="7360" y="7050"/>
                      <a:pt x="7250" y="7114"/>
                      <a:pt x="7132" y="7114"/>
                    </a:cubicBezTo>
                    <a:cubicBezTo>
                      <a:pt x="7081" y="7114"/>
                      <a:pt x="7028" y="7102"/>
                      <a:pt x="6978" y="7077"/>
                    </a:cubicBezTo>
                    <a:lnTo>
                      <a:pt x="5728" y="6386"/>
                    </a:lnTo>
                    <a:cubicBezTo>
                      <a:pt x="5705" y="6371"/>
                      <a:pt x="5680" y="6365"/>
                      <a:pt x="5655" y="6365"/>
                    </a:cubicBezTo>
                    <a:cubicBezTo>
                      <a:pt x="5601" y="6365"/>
                      <a:pt x="5546" y="6397"/>
                      <a:pt x="5513" y="6446"/>
                    </a:cubicBezTo>
                    <a:cubicBezTo>
                      <a:pt x="5478" y="6517"/>
                      <a:pt x="5501" y="6613"/>
                      <a:pt x="5573" y="6660"/>
                    </a:cubicBezTo>
                    <a:lnTo>
                      <a:pt x="6549" y="7172"/>
                    </a:lnTo>
                    <a:cubicBezTo>
                      <a:pt x="6704" y="7267"/>
                      <a:pt x="6763" y="7458"/>
                      <a:pt x="6680" y="7625"/>
                    </a:cubicBezTo>
                    <a:cubicBezTo>
                      <a:pt x="6616" y="7737"/>
                      <a:pt x="6508" y="7801"/>
                      <a:pt x="6393" y="7801"/>
                    </a:cubicBezTo>
                    <a:cubicBezTo>
                      <a:pt x="6338" y="7801"/>
                      <a:pt x="6282" y="7786"/>
                      <a:pt x="6228" y="7756"/>
                    </a:cubicBezTo>
                    <a:lnTo>
                      <a:pt x="5549" y="7386"/>
                    </a:lnTo>
                    <a:cubicBezTo>
                      <a:pt x="5549" y="7255"/>
                      <a:pt x="5501" y="7101"/>
                      <a:pt x="5406" y="6994"/>
                    </a:cubicBezTo>
                    <a:cubicBezTo>
                      <a:pt x="5299" y="6851"/>
                      <a:pt x="5132" y="6755"/>
                      <a:pt x="4954" y="6744"/>
                    </a:cubicBezTo>
                    <a:lnTo>
                      <a:pt x="4954" y="6696"/>
                    </a:lnTo>
                    <a:cubicBezTo>
                      <a:pt x="4977" y="6541"/>
                      <a:pt x="4930" y="6363"/>
                      <a:pt x="4835" y="6220"/>
                    </a:cubicBezTo>
                    <a:cubicBezTo>
                      <a:pt x="4716" y="6077"/>
                      <a:pt x="4549" y="5982"/>
                      <a:pt x="4370" y="5970"/>
                    </a:cubicBezTo>
                    <a:lnTo>
                      <a:pt x="4370" y="5922"/>
                    </a:lnTo>
                    <a:cubicBezTo>
                      <a:pt x="4406" y="5767"/>
                      <a:pt x="4358" y="5589"/>
                      <a:pt x="4251" y="5446"/>
                    </a:cubicBezTo>
                    <a:cubicBezTo>
                      <a:pt x="4132" y="5303"/>
                      <a:pt x="3965" y="5208"/>
                      <a:pt x="3787" y="5196"/>
                    </a:cubicBezTo>
                    <a:lnTo>
                      <a:pt x="3787" y="5148"/>
                    </a:lnTo>
                    <a:cubicBezTo>
                      <a:pt x="3823" y="4993"/>
                      <a:pt x="3775" y="4815"/>
                      <a:pt x="3668" y="4672"/>
                    </a:cubicBezTo>
                    <a:cubicBezTo>
                      <a:pt x="3547" y="4516"/>
                      <a:pt x="3359" y="4432"/>
                      <a:pt x="3172" y="4432"/>
                    </a:cubicBezTo>
                    <a:cubicBezTo>
                      <a:pt x="3044" y="4432"/>
                      <a:pt x="2917" y="4471"/>
                      <a:pt x="2811" y="4553"/>
                    </a:cubicBezTo>
                    <a:lnTo>
                      <a:pt x="1763" y="5315"/>
                    </a:lnTo>
                    <a:lnTo>
                      <a:pt x="1394" y="5112"/>
                    </a:lnTo>
                    <a:lnTo>
                      <a:pt x="2870" y="2553"/>
                    </a:lnTo>
                    <a:close/>
                    <a:moveTo>
                      <a:pt x="4936" y="7026"/>
                    </a:moveTo>
                    <a:cubicBezTo>
                      <a:pt x="5036" y="7026"/>
                      <a:pt x="5132" y="7070"/>
                      <a:pt x="5204" y="7148"/>
                    </a:cubicBezTo>
                    <a:cubicBezTo>
                      <a:pt x="5251" y="7244"/>
                      <a:pt x="5275" y="7315"/>
                      <a:pt x="5263" y="7398"/>
                    </a:cubicBezTo>
                    <a:cubicBezTo>
                      <a:pt x="5251" y="7494"/>
                      <a:pt x="5204" y="7565"/>
                      <a:pt x="5132" y="7625"/>
                    </a:cubicBezTo>
                    <a:lnTo>
                      <a:pt x="4787" y="7875"/>
                    </a:lnTo>
                    <a:cubicBezTo>
                      <a:pt x="4729" y="7918"/>
                      <a:pt x="4658" y="7940"/>
                      <a:pt x="4588" y="7940"/>
                    </a:cubicBezTo>
                    <a:cubicBezTo>
                      <a:pt x="4487" y="7940"/>
                      <a:pt x="4386" y="7895"/>
                      <a:pt x="4323" y="7803"/>
                    </a:cubicBezTo>
                    <a:cubicBezTo>
                      <a:pt x="4215" y="7660"/>
                      <a:pt x="4251" y="7446"/>
                      <a:pt x="4406" y="7339"/>
                    </a:cubicBezTo>
                    <a:lnTo>
                      <a:pt x="4727" y="7101"/>
                    </a:lnTo>
                    <a:lnTo>
                      <a:pt x="4739" y="7089"/>
                    </a:lnTo>
                    <a:cubicBezTo>
                      <a:pt x="4802" y="7046"/>
                      <a:pt x="4870" y="7026"/>
                      <a:pt x="4936" y="7026"/>
                    </a:cubicBezTo>
                    <a:close/>
                    <a:moveTo>
                      <a:pt x="180" y="0"/>
                    </a:moveTo>
                    <a:cubicBezTo>
                      <a:pt x="125" y="0"/>
                      <a:pt x="69" y="27"/>
                      <a:pt x="36" y="76"/>
                    </a:cubicBezTo>
                    <a:cubicBezTo>
                      <a:pt x="1" y="159"/>
                      <a:pt x="24" y="243"/>
                      <a:pt x="96" y="290"/>
                    </a:cubicBezTo>
                    <a:lnTo>
                      <a:pt x="2382" y="1600"/>
                    </a:lnTo>
                    <a:lnTo>
                      <a:pt x="405" y="5005"/>
                    </a:lnTo>
                    <a:lnTo>
                      <a:pt x="251" y="4922"/>
                    </a:lnTo>
                    <a:cubicBezTo>
                      <a:pt x="221" y="4905"/>
                      <a:pt x="192" y="4897"/>
                      <a:pt x="164" y="4897"/>
                    </a:cubicBezTo>
                    <a:cubicBezTo>
                      <a:pt x="113" y="4897"/>
                      <a:pt x="67" y="4923"/>
                      <a:pt x="36" y="4969"/>
                    </a:cubicBezTo>
                    <a:cubicBezTo>
                      <a:pt x="1" y="5053"/>
                      <a:pt x="24" y="5136"/>
                      <a:pt x="96" y="5184"/>
                    </a:cubicBezTo>
                    <a:lnTo>
                      <a:pt x="882" y="5648"/>
                    </a:lnTo>
                    <a:cubicBezTo>
                      <a:pt x="908" y="5663"/>
                      <a:pt x="934" y="5670"/>
                      <a:pt x="959" y="5670"/>
                    </a:cubicBezTo>
                    <a:cubicBezTo>
                      <a:pt x="1014" y="5670"/>
                      <a:pt x="1063" y="5638"/>
                      <a:pt x="1096" y="5589"/>
                    </a:cubicBezTo>
                    <a:lnTo>
                      <a:pt x="1215" y="5398"/>
                    </a:lnTo>
                    <a:lnTo>
                      <a:pt x="1537" y="5565"/>
                    </a:lnTo>
                    <a:cubicBezTo>
                      <a:pt x="1441" y="5779"/>
                      <a:pt x="1453" y="6029"/>
                      <a:pt x="1584" y="6220"/>
                    </a:cubicBezTo>
                    <a:cubicBezTo>
                      <a:pt x="1703" y="6386"/>
                      <a:pt x="1894" y="6482"/>
                      <a:pt x="2096" y="6482"/>
                    </a:cubicBezTo>
                    <a:cubicBezTo>
                      <a:pt x="2156" y="6482"/>
                      <a:pt x="2227" y="6458"/>
                      <a:pt x="2287" y="6446"/>
                    </a:cubicBezTo>
                    <a:cubicBezTo>
                      <a:pt x="2287" y="6577"/>
                      <a:pt x="2334" y="6720"/>
                      <a:pt x="2406" y="6815"/>
                    </a:cubicBezTo>
                    <a:cubicBezTo>
                      <a:pt x="2525" y="6982"/>
                      <a:pt x="2715" y="7077"/>
                      <a:pt x="2906" y="7077"/>
                    </a:cubicBezTo>
                    <a:cubicBezTo>
                      <a:pt x="2965" y="7077"/>
                      <a:pt x="3049" y="7053"/>
                      <a:pt x="3108" y="7041"/>
                    </a:cubicBezTo>
                    <a:cubicBezTo>
                      <a:pt x="3108" y="7160"/>
                      <a:pt x="3144" y="7291"/>
                      <a:pt x="3227" y="7398"/>
                    </a:cubicBezTo>
                    <a:cubicBezTo>
                      <a:pt x="3323" y="7529"/>
                      <a:pt x="3465" y="7625"/>
                      <a:pt x="3644" y="7648"/>
                    </a:cubicBezTo>
                    <a:cubicBezTo>
                      <a:pt x="3668" y="7648"/>
                      <a:pt x="3715" y="7672"/>
                      <a:pt x="3739" y="7672"/>
                    </a:cubicBezTo>
                    <a:cubicBezTo>
                      <a:pt x="3799" y="7672"/>
                      <a:pt x="3882" y="7648"/>
                      <a:pt x="3942" y="7636"/>
                    </a:cubicBezTo>
                    <a:cubicBezTo>
                      <a:pt x="3942" y="7767"/>
                      <a:pt x="3977" y="7886"/>
                      <a:pt x="4061" y="7994"/>
                    </a:cubicBezTo>
                    <a:cubicBezTo>
                      <a:pt x="4156" y="8125"/>
                      <a:pt x="4299" y="8220"/>
                      <a:pt x="4477" y="8244"/>
                    </a:cubicBezTo>
                    <a:cubicBezTo>
                      <a:pt x="4501" y="8244"/>
                      <a:pt x="4549" y="8267"/>
                      <a:pt x="4573" y="8267"/>
                    </a:cubicBezTo>
                    <a:cubicBezTo>
                      <a:pt x="4716" y="8267"/>
                      <a:pt x="4835" y="8220"/>
                      <a:pt x="4954" y="8148"/>
                    </a:cubicBezTo>
                    <a:lnTo>
                      <a:pt x="5287" y="7886"/>
                    </a:lnTo>
                    <a:cubicBezTo>
                      <a:pt x="5370" y="7827"/>
                      <a:pt x="5430" y="7767"/>
                      <a:pt x="5466" y="7684"/>
                    </a:cubicBezTo>
                    <a:lnTo>
                      <a:pt x="6085" y="8029"/>
                    </a:lnTo>
                    <a:cubicBezTo>
                      <a:pt x="6168" y="8077"/>
                      <a:pt x="6275" y="8101"/>
                      <a:pt x="6382" y="8101"/>
                    </a:cubicBezTo>
                    <a:cubicBezTo>
                      <a:pt x="6442" y="8101"/>
                      <a:pt x="6501" y="8089"/>
                      <a:pt x="6561" y="8077"/>
                    </a:cubicBezTo>
                    <a:cubicBezTo>
                      <a:pt x="6716" y="8029"/>
                      <a:pt x="6859" y="7922"/>
                      <a:pt x="6930" y="7779"/>
                    </a:cubicBezTo>
                    <a:cubicBezTo>
                      <a:pt x="6990" y="7648"/>
                      <a:pt x="7013" y="7529"/>
                      <a:pt x="7002" y="7398"/>
                    </a:cubicBezTo>
                    <a:cubicBezTo>
                      <a:pt x="7049" y="7398"/>
                      <a:pt x="7073" y="7422"/>
                      <a:pt x="7121" y="7422"/>
                    </a:cubicBezTo>
                    <a:cubicBezTo>
                      <a:pt x="7347" y="7422"/>
                      <a:pt x="7573" y="7303"/>
                      <a:pt x="7668" y="7089"/>
                    </a:cubicBezTo>
                    <a:cubicBezTo>
                      <a:pt x="7728" y="6970"/>
                      <a:pt x="7764" y="6839"/>
                      <a:pt x="7752" y="6720"/>
                    </a:cubicBezTo>
                    <a:cubicBezTo>
                      <a:pt x="7787" y="6720"/>
                      <a:pt x="7823" y="6732"/>
                      <a:pt x="7871" y="6732"/>
                    </a:cubicBezTo>
                    <a:cubicBezTo>
                      <a:pt x="8085" y="6732"/>
                      <a:pt x="8311" y="6613"/>
                      <a:pt x="8418" y="6410"/>
                    </a:cubicBezTo>
                    <a:cubicBezTo>
                      <a:pt x="8478" y="6291"/>
                      <a:pt x="8502" y="6172"/>
                      <a:pt x="8490" y="6029"/>
                    </a:cubicBezTo>
                    <a:cubicBezTo>
                      <a:pt x="8537" y="6029"/>
                      <a:pt x="8561" y="6053"/>
                      <a:pt x="8609" y="6053"/>
                    </a:cubicBezTo>
                    <a:cubicBezTo>
                      <a:pt x="8668" y="6053"/>
                      <a:pt x="8728" y="6029"/>
                      <a:pt x="8787" y="6017"/>
                    </a:cubicBezTo>
                    <a:cubicBezTo>
                      <a:pt x="8954" y="5970"/>
                      <a:pt x="9085" y="5874"/>
                      <a:pt x="9157" y="5720"/>
                    </a:cubicBezTo>
                    <a:cubicBezTo>
                      <a:pt x="9240" y="5577"/>
                      <a:pt x="9264" y="5410"/>
                      <a:pt x="9204" y="5243"/>
                    </a:cubicBezTo>
                    <a:cubicBezTo>
                      <a:pt x="9192" y="5196"/>
                      <a:pt x="9180" y="5172"/>
                      <a:pt x="9157" y="5136"/>
                    </a:cubicBezTo>
                    <a:lnTo>
                      <a:pt x="9430" y="4946"/>
                    </a:lnTo>
                    <a:lnTo>
                      <a:pt x="9561" y="5124"/>
                    </a:lnTo>
                    <a:cubicBezTo>
                      <a:pt x="9591" y="5161"/>
                      <a:pt x="9644" y="5180"/>
                      <a:pt x="9694" y="5180"/>
                    </a:cubicBezTo>
                    <a:cubicBezTo>
                      <a:pt x="9724" y="5180"/>
                      <a:pt x="9753" y="5173"/>
                      <a:pt x="9776" y="5160"/>
                    </a:cubicBezTo>
                    <a:lnTo>
                      <a:pt x="10192" y="4827"/>
                    </a:lnTo>
                    <a:cubicBezTo>
                      <a:pt x="10264" y="4743"/>
                      <a:pt x="10276" y="4648"/>
                      <a:pt x="10240" y="4577"/>
                    </a:cubicBezTo>
                    <a:cubicBezTo>
                      <a:pt x="10210" y="4539"/>
                      <a:pt x="10157" y="4521"/>
                      <a:pt x="10107" y="4521"/>
                    </a:cubicBezTo>
                    <a:cubicBezTo>
                      <a:pt x="10077" y="4521"/>
                      <a:pt x="10048" y="4527"/>
                      <a:pt x="10026" y="4541"/>
                    </a:cubicBezTo>
                    <a:lnTo>
                      <a:pt x="9728" y="4779"/>
                    </a:lnTo>
                    <a:lnTo>
                      <a:pt x="7347" y="1671"/>
                    </a:lnTo>
                    <a:lnTo>
                      <a:pt x="8704" y="790"/>
                    </a:lnTo>
                    <a:cubicBezTo>
                      <a:pt x="8776" y="755"/>
                      <a:pt x="8787" y="659"/>
                      <a:pt x="8752" y="588"/>
                    </a:cubicBezTo>
                    <a:cubicBezTo>
                      <a:pt x="8721" y="542"/>
                      <a:pt x="8670" y="516"/>
                      <a:pt x="8619" y="516"/>
                    </a:cubicBezTo>
                    <a:cubicBezTo>
                      <a:pt x="8591" y="516"/>
                      <a:pt x="8563" y="523"/>
                      <a:pt x="8537" y="540"/>
                    </a:cubicBezTo>
                    <a:lnTo>
                      <a:pt x="7049" y="1493"/>
                    </a:lnTo>
                    <a:cubicBezTo>
                      <a:pt x="6978" y="1540"/>
                      <a:pt x="6966" y="1648"/>
                      <a:pt x="7002" y="1719"/>
                    </a:cubicBezTo>
                    <a:lnTo>
                      <a:pt x="7275" y="2076"/>
                    </a:lnTo>
                    <a:lnTo>
                      <a:pt x="7085" y="2219"/>
                    </a:lnTo>
                    <a:lnTo>
                      <a:pt x="6311" y="1969"/>
                    </a:lnTo>
                    <a:cubicBezTo>
                      <a:pt x="6287" y="1969"/>
                      <a:pt x="6275" y="1957"/>
                      <a:pt x="6263" y="1957"/>
                    </a:cubicBezTo>
                    <a:lnTo>
                      <a:pt x="4501" y="1957"/>
                    </a:lnTo>
                    <a:cubicBezTo>
                      <a:pt x="4430" y="1957"/>
                      <a:pt x="4370" y="2005"/>
                      <a:pt x="4358" y="2076"/>
                    </a:cubicBezTo>
                    <a:lnTo>
                      <a:pt x="4251" y="2481"/>
                    </a:lnTo>
                    <a:lnTo>
                      <a:pt x="4001" y="2374"/>
                    </a:lnTo>
                    <a:cubicBezTo>
                      <a:pt x="3965" y="2362"/>
                      <a:pt x="3954" y="2362"/>
                      <a:pt x="3930" y="2362"/>
                    </a:cubicBezTo>
                    <a:lnTo>
                      <a:pt x="3227" y="2433"/>
                    </a:lnTo>
                    <a:lnTo>
                      <a:pt x="2989" y="2302"/>
                    </a:lnTo>
                    <a:lnTo>
                      <a:pt x="3215" y="1910"/>
                    </a:lnTo>
                    <a:cubicBezTo>
                      <a:pt x="3251" y="1838"/>
                      <a:pt x="3227" y="1743"/>
                      <a:pt x="3156" y="1707"/>
                    </a:cubicBezTo>
                    <a:lnTo>
                      <a:pt x="251" y="16"/>
                    </a:lnTo>
                    <a:cubicBezTo>
                      <a:pt x="229" y="5"/>
                      <a:pt x="204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Google Shape;13586;p63">
                <a:extLst>
                  <a:ext uri="{FF2B5EF4-FFF2-40B4-BE49-F238E27FC236}">
                    <a16:creationId xmlns:a16="http://schemas.microsoft.com/office/drawing/2014/main" id="{62C0D0B3-8E77-43FC-913F-D38F912754AE}"/>
                  </a:ext>
                </a:extLst>
              </p:cNvPr>
              <p:cNvSpPr/>
              <p:nvPr/>
            </p:nvSpPr>
            <p:spPr>
              <a:xfrm>
                <a:off x="4079948" y="2679504"/>
                <a:ext cx="49569" cy="35947"/>
              </a:xfrm>
              <a:custGeom>
                <a:avLst/>
                <a:gdLst/>
                <a:ahLst/>
                <a:cxnLst/>
                <a:rect l="l" t="t" r="r" b="b"/>
                <a:pathLst>
                  <a:path w="1168" h="847" extrusionOk="0">
                    <a:moveTo>
                      <a:pt x="999" y="0"/>
                    </a:moveTo>
                    <a:cubicBezTo>
                      <a:pt x="971" y="0"/>
                      <a:pt x="943" y="8"/>
                      <a:pt x="918" y="25"/>
                    </a:cubicBezTo>
                    <a:lnTo>
                      <a:pt x="84" y="561"/>
                    </a:lnTo>
                    <a:cubicBezTo>
                      <a:pt x="13" y="608"/>
                      <a:pt x="1" y="692"/>
                      <a:pt x="37" y="775"/>
                    </a:cubicBezTo>
                    <a:cubicBezTo>
                      <a:pt x="72" y="811"/>
                      <a:pt x="120" y="846"/>
                      <a:pt x="156" y="846"/>
                    </a:cubicBezTo>
                    <a:cubicBezTo>
                      <a:pt x="191" y="846"/>
                      <a:pt x="215" y="823"/>
                      <a:pt x="239" y="811"/>
                    </a:cubicBezTo>
                    <a:lnTo>
                      <a:pt x="1073" y="275"/>
                    </a:lnTo>
                    <a:cubicBezTo>
                      <a:pt x="1156" y="239"/>
                      <a:pt x="1168" y="144"/>
                      <a:pt x="1132" y="72"/>
                    </a:cubicBezTo>
                    <a:cubicBezTo>
                      <a:pt x="1101" y="26"/>
                      <a:pt x="1051" y="0"/>
                      <a:pt x="99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C99158F-28F3-4A46-A620-3DECF036A48F}"/>
              </a:ext>
            </a:extLst>
          </p:cNvPr>
          <p:cNvGrpSpPr/>
          <p:nvPr/>
        </p:nvGrpSpPr>
        <p:grpSpPr>
          <a:xfrm>
            <a:off x="4005013" y="2116168"/>
            <a:ext cx="289650" cy="257508"/>
            <a:chOff x="3843088" y="2151476"/>
            <a:chExt cx="403950" cy="36830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EFE3F3-77AA-4812-BD42-5076BD014317}"/>
                </a:ext>
              </a:extLst>
            </p:cNvPr>
            <p:cNvSpPr>
              <a:spLocks/>
            </p:cNvSpPr>
            <p:nvPr/>
          </p:nvSpPr>
          <p:spPr>
            <a:xfrm>
              <a:off x="3843088" y="2151476"/>
              <a:ext cx="403950" cy="3683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9902;p57">
              <a:extLst>
                <a:ext uri="{FF2B5EF4-FFF2-40B4-BE49-F238E27FC236}">
                  <a16:creationId xmlns:a16="http://schemas.microsoft.com/office/drawing/2014/main" id="{4E678130-718C-4CDF-A7B7-3F35363803C5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19085" y="2209674"/>
              <a:ext cx="252002" cy="252006"/>
              <a:chOff x="4126815" y="2760704"/>
              <a:chExt cx="380393" cy="363118"/>
            </a:xfrm>
            <a:solidFill>
              <a:schemeClr val="bg1"/>
            </a:solidFill>
          </p:grpSpPr>
          <p:sp>
            <p:nvSpPr>
              <p:cNvPr id="75" name="Google Shape;9903;p57">
                <a:extLst>
                  <a:ext uri="{FF2B5EF4-FFF2-40B4-BE49-F238E27FC236}">
                    <a16:creationId xmlns:a16="http://schemas.microsoft.com/office/drawing/2014/main" id="{547B6BAB-5CA4-464B-A05E-16C34AE4FDF0}"/>
                  </a:ext>
                </a:extLst>
              </p:cNvPr>
              <p:cNvSpPr/>
              <p:nvPr/>
            </p:nvSpPr>
            <p:spPr>
              <a:xfrm>
                <a:off x="4219825" y="2822435"/>
                <a:ext cx="103267" cy="29056"/>
              </a:xfrm>
              <a:custGeom>
                <a:avLst/>
                <a:gdLst/>
                <a:ahLst/>
                <a:cxnLst/>
                <a:rect l="l" t="t" r="r" b="b"/>
                <a:pathLst>
                  <a:path w="3252" h="915" extrusionOk="0">
                    <a:moveTo>
                      <a:pt x="1620" y="0"/>
                    </a:moveTo>
                    <a:cubicBezTo>
                      <a:pt x="1025" y="0"/>
                      <a:pt x="477" y="215"/>
                      <a:pt x="60" y="631"/>
                    </a:cubicBezTo>
                    <a:cubicBezTo>
                      <a:pt x="1" y="691"/>
                      <a:pt x="1" y="810"/>
                      <a:pt x="60" y="869"/>
                    </a:cubicBezTo>
                    <a:cubicBezTo>
                      <a:pt x="90" y="899"/>
                      <a:pt x="132" y="914"/>
                      <a:pt x="175" y="914"/>
                    </a:cubicBezTo>
                    <a:cubicBezTo>
                      <a:pt x="218" y="914"/>
                      <a:pt x="263" y="899"/>
                      <a:pt x="298" y="869"/>
                    </a:cubicBezTo>
                    <a:cubicBezTo>
                      <a:pt x="656" y="512"/>
                      <a:pt x="1120" y="322"/>
                      <a:pt x="1620" y="322"/>
                    </a:cubicBezTo>
                    <a:cubicBezTo>
                      <a:pt x="2132" y="322"/>
                      <a:pt x="2596" y="512"/>
                      <a:pt x="2953" y="869"/>
                    </a:cubicBezTo>
                    <a:cubicBezTo>
                      <a:pt x="2983" y="899"/>
                      <a:pt x="3028" y="914"/>
                      <a:pt x="3073" y="914"/>
                    </a:cubicBezTo>
                    <a:cubicBezTo>
                      <a:pt x="3117" y="914"/>
                      <a:pt x="3162" y="899"/>
                      <a:pt x="3192" y="869"/>
                    </a:cubicBezTo>
                    <a:cubicBezTo>
                      <a:pt x="3251" y="810"/>
                      <a:pt x="3251" y="691"/>
                      <a:pt x="3192" y="631"/>
                    </a:cubicBezTo>
                    <a:cubicBezTo>
                      <a:pt x="2775" y="215"/>
                      <a:pt x="2215" y="0"/>
                      <a:pt x="1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Google Shape;9904;p57">
                <a:extLst>
                  <a:ext uri="{FF2B5EF4-FFF2-40B4-BE49-F238E27FC236}">
                    <a16:creationId xmlns:a16="http://schemas.microsoft.com/office/drawing/2014/main" id="{CB7B676A-B4A1-4CC0-885C-B1414DA479E7}"/>
                  </a:ext>
                </a:extLst>
              </p:cNvPr>
              <p:cNvSpPr/>
              <p:nvPr/>
            </p:nvSpPr>
            <p:spPr>
              <a:xfrm>
                <a:off x="4126815" y="2760704"/>
                <a:ext cx="380393" cy="363118"/>
              </a:xfrm>
              <a:custGeom>
                <a:avLst/>
                <a:gdLst/>
                <a:ahLst/>
                <a:cxnLst/>
                <a:rect l="l" t="t" r="r" b="b"/>
                <a:pathLst>
                  <a:path w="11979" h="11435" extrusionOk="0">
                    <a:moveTo>
                      <a:pt x="7621" y="6921"/>
                    </a:moveTo>
                    <a:lnTo>
                      <a:pt x="8061" y="7373"/>
                    </a:lnTo>
                    <a:lnTo>
                      <a:pt x="7787" y="7659"/>
                    </a:lnTo>
                    <a:lnTo>
                      <a:pt x="7335" y="7207"/>
                    </a:lnTo>
                    <a:cubicBezTo>
                      <a:pt x="7442" y="7123"/>
                      <a:pt x="7526" y="7016"/>
                      <a:pt x="7621" y="6921"/>
                    </a:cubicBezTo>
                    <a:close/>
                    <a:moveTo>
                      <a:pt x="4552" y="328"/>
                    </a:moveTo>
                    <a:cubicBezTo>
                      <a:pt x="5525" y="328"/>
                      <a:pt x="6496" y="700"/>
                      <a:pt x="7228" y="1444"/>
                    </a:cubicBezTo>
                    <a:cubicBezTo>
                      <a:pt x="8645" y="2861"/>
                      <a:pt x="8704" y="5076"/>
                      <a:pt x="7466" y="6564"/>
                    </a:cubicBezTo>
                    <a:cubicBezTo>
                      <a:pt x="7311" y="6766"/>
                      <a:pt x="7156" y="6909"/>
                      <a:pt x="6978" y="7064"/>
                    </a:cubicBezTo>
                    <a:cubicBezTo>
                      <a:pt x="6279" y="7651"/>
                      <a:pt x="5417" y="7944"/>
                      <a:pt x="4554" y="7944"/>
                    </a:cubicBezTo>
                    <a:cubicBezTo>
                      <a:pt x="3579" y="7944"/>
                      <a:pt x="2603" y="7571"/>
                      <a:pt x="1858" y="6826"/>
                    </a:cubicBezTo>
                    <a:cubicBezTo>
                      <a:pt x="370" y="5338"/>
                      <a:pt x="370" y="2921"/>
                      <a:pt x="1858" y="1444"/>
                    </a:cubicBezTo>
                    <a:cubicBezTo>
                      <a:pt x="2602" y="700"/>
                      <a:pt x="3579" y="328"/>
                      <a:pt x="4552" y="328"/>
                    </a:cubicBezTo>
                    <a:close/>
                    <a:moveTo>
                      <a:pt x="8518" y="7440"/>
                    </a:moveTo>
                    <a:cubicBezTo>
                      <a:pt x="8550" y="7440"/>
                      <a:pt x="8580" y="7453"/>
                      <a:pt x="8597" y="7481"/>
                    </a:cubicBezTo>
                    <a:lnTo>
                      <a:pt x="9061" y="7897"/>
                    </a:lnTo>
                    <a:lnTo>
                      <a:pt x="8276" y="8683"/>
                    </a:lnTo>
                    <a:lnTo>
                      <a:pt x="7883" y="8195"/>
                    </a:lnTo>
                    <a:cubicBezTo>
                      <a:pt x="7847" y="8135"/>
                      <a:pt x="7847" y="8052"/>
                      <a:pt x="7883" y="8016"/>
                    </a:cubicBezTo>
                    <a:lnTo>
                      <a:pt x="8418" y="7481"/>
                    </a:lnTo>
                    <a:cubicBezTo>
                      <a:pt x="8444" y="7456"/>
                      <a:pt x="8482" y="7440"/>
                      <a:pt x="8518" y="7440"/>
                    </a:cubicBezTo>
                    <a:close/>
                    <a:moveTo>
                      <a:pt x="9335" y="8100"/>
                    </a:moveTo>
                    <a:lnTo>
                      <a:pt x="11252" y="9779"/>
                    </a:lnTo>
                    <a:cubicBezTo>
                      <a:pt x="11574" y="10064"/>
                      <a:pt x="11597" y="10576"/>
                      <a:pt x="11276" y="10886"/>
                    </a:cubicBezTo>
                    <a:cubicBezTo>
                      <a:pt x="11128" y="11033"/>
                      <a:pt x="10940" y="11105"/>
                      <a:pt x="10752" y="11105"/>
                    </a:cubicBezTo>
                    <a:cubicBezTo>
                      <a:pt x="10544" y="11105"/>
                      <a:pt x="10336" y="11018"/>
                      <a:pt x="10181" y="10850"/>
                    </a:cubicBezTo>
                    <a:lnTo>
                      <a:pt x="8514" y="8921"/>
                    </a:lnTo>
                    <a:lnTo>
                      <a:pt x="9335" y="8100"/>
                    </a:lnTo>
                    <a:close/>
                    <a:moveTo>
                      <a:pt x="4543" y="1"/>
                    </a:moveTo>
                    <a:cubicBezTo>
                      <a:pt x="3483" y="1"/>
                      <a:pt x="2424" y="402"/>
                      <a:pt x="1620" y="1206"/>
                    </a:cubicBezTo>
                    <a:cubicBezTo>
                      <a:pt x="1" y="2837"/>
                      <a:pt x="1" y="5457"/>
                      <a:pt x="1620" y="7064"/>
                    </a:cubicBezTo>
                    <a:cubicBezTo>
                      <a:pt x="2431" y="7875"/>
                      <a:pt x="3489" y="8272"/>
                      <a:pt x="4543" y="8272"/>
                    </a:cubicBezTo>
                    <a:cubicBezTo>
                      <a:pt x="5440" y="8272"/>
                      <a:pt x="6334" y="7985"/>
                      <a:pt x="7073" y="7421"/>
                    </a:cubicBezTo>
                    <a:lnTo>
                      <a:pt x="7561" y="7909"/>
                    </a:lnTo>
                    <a:cubicBezTo>
                      <a:pt x="7490" y="8076"/>
                      <a:pt x="7502" y="8278"/>
                      <a:pt x="7633" y="8409"/>
                    </a:cubicBezTo>
                    <a:lnTo>
                      <a:pt x="9954" y="11064"/>
                    </a:lnTo>
                    <a:cubicBezTo>
                      <a:pt x="10171" y="11312"/>
                      <a:pt x="10471" y="11434"/>
                      <a:pt x="10771" y="11434"/>
                    </a:cubicBezTo>
                    <a:cubicBezTo>
                      <a:pt x="11049" y="11434"/>
                      <a:pt x="11326" y="11330"/>
                      <a:pt x="11538" y="11124"/>
                    </a:cubicBezTo>
                    <a:cubicBezTo>
                      <a:pt x="11978" y="10671"/>
                      <a:pt x="11955" y="9945"/>
                      <a:pt x="11478" y="9540"/>
                    </a:cubicBezTo>
                    <a:lnTo>
                      <a:pt x="8823" y="7219"/>
                    </a:lnTo>
                    <a:cubicBezTo>
                      <a:pt x="8737" y="7139"/>
                      <a:pt x="8629" y="7104"/>
                      <a:pt x="8522" y="7104"/>
                    </a:cubicBezTo>
                    <a:cubicBezTo>
                      <a:pt x="8453" y="7104"/>
                      <a:pt x="8384" y="7119"/>
                      <a:pt x="8323" y="7147"/>
                    </a:cubicBezTo>
                    <a:lnTo>
                      <a:pt x="7823" y="6659"/>
                    </a:lnTo>
                    <a:cubicBezTo>
                      <a:pt x="9073" y="5052"/>
                      <a:pt x="8978" y="2694"/>
                      <a:pt x="7466" y="1206"/>
                    </a:cubicBezTo>
                    <a:cubicBezTo>
                      <a:pt x="6662" y="402"/>
                      <a:pt x="5603" y="1"/>
                      <a:pt x="45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Google Shape;9905;p57">
                <a:extLst>
                  <a:ext uri="{FF2B5EF4-FFF2-40B4-BE49-F238E27FC236}">
                    <a16:creationId xmlns:a16="http://schemas.microsoft.com/office/drawing/2014/main" id="{FB3FED87-D208-42E1-9BEC-5D720774ADEF}"/>
                  </a:ext>
                </a:extLst>
              </p:cNvPr>
              <p:cNvSpPr/>
              <p:nvPr/>
            </p:nvSpPr>
            <p:spPr>
              <a:xfrm>
                <a:off x="4278826" y="2791379"/>
                <a:ext cx="103998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275" h="6360" extrusionOk="0">
                    <a:moveTo>
                      <a:pt x="191" y="0"/>
                    </a:moveTo>
                    <a:cubicBezTo>
                      <a:pt x="106" y="0"/>
                      <a:pt x="35" y="59"/>
                      <a:pt x="24" y="157"/>
                    </a:cubicBezTo>
                    <a:cubicBezTo>
                      <a:pt x="0" y="264"/>
                      <a:pt x="60" y="335"/>
                      <a:pt x="167" y="347"/>
                    </a:cubicBezTo>
                    <a:cubicBezTo>
                      <a:pt x="798" y="442"/>
                      <a:pt x="1345" y="716"/>
                      <a:pt x="1786" y="1169"/>
                    </a:cubicBezTo>
                    <a:cubicBezTo>
                      <a:pt x="2905" y="2288"/>
                      <a:pt x="2905" y="4110"/>
                      <a:pt x="1786" y="5229"/>
                    </a:cubicBezTo>
                    <a:cubicBezTo>
                      <a:pt x="1345" y="5645"/>
                      <a:pt x="774" y="5931"/>
                      <a:pt x="167" y="6015"/>
                    </a:cubicBezTo>
                    <a:cubicBezTo>
                      <a:pt x="83" y="6038"/>
                      <a:pt x="24" y="6122"/>
                      <a:pt x="24" y="6217"/>
                    </a:cubicBezTo>
                    <a:cubicBezTo>
                      <a:pt x="36" y="6300"/>
                      <a:pt x="107" y="6360"/>
                      <a:pt x="179" y="6360"/>
                    </a:cubicBezTo>
                    <a:lnTo>
                      <a:pt x="214" y="6360"/>
                    </a:lnTo>
                    <a:cubicBezTo>
                      <a:pt x="917" y="6253"/>
                      <a:pt x="1536" y="5943"/>
                      <a:pt x="2024" y="5455"/>
                    </a:cubicBezTo>
                    <a:cubicBezTo>
                      <a:pt x="3274" y="4205"/>
                      <a:pt x="3274" y="2169"/>
                      <a:pt x="2024" y="919"/>
                    </a:cubicBezTo>
                    <a:cubicBezTo>
                      <a:pt x="1536" y="419"/>
                      <a:pt x="917" y="109"/>
                      <a:pt x="214" y="2"/>
                    </a:cubicBezTo>
                    <a:cubicBezTo>
                      <a:pt x="206" y="1"/>
                      <a:pt x="198" y="0"/>
                      <a:pt x="1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Google Shape;9906;p57">
                <a:extLst>
                  <a:ext uri="{FF2B5EF4-FFF2-40B4-BE49-F238E27FC236}">
                    <a16:creationId xmlns:a16="http://schemas.microsoft.com/office/drawing/2014/main" id="{B118434F-CF5B-4FB4-A093-1C2C1F276A15}"/>
                  </a:ext>
                </a:extLst>
              </p:cNvPr>
              <p:cNvSpPr/>
              <p:nvPr/>
            </p:nvSpPr>
            <p:spPr>
              <a:xfrm>
                <a:off x="4159332" y="2791379"/>
                <a:ext cx="105903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360" extrusionOk="0">
                    <a:moveTo>
                      <a:pt x="3162" y="1"/>
                    </a:moveTo>
                    <a:cubicBezTo>
                      <a:pt x="3156" y="1"/>
                      <a:pt x="3150" y="1"/>
                      <a:pt x="3144" y="2"/>
                    </a:cubicBezTo>
                    <a:cubicBezTo>
                      <a:pt x="2430" y="61"/>
                      <a:pt x="1775" y="383"/>
                      <a:pt x="1251" y="895"/>
                    </a:cubicBezTo>
                    <a:cubicBezTo>
                      <a:pt x="1" y="2145"/>
                      <a:pt x="1" y="4193"/>
                      <a:pt x="1251" y="5443"/>
                    </a:cubicBezTo>
                    <a:cubicBezTo>
                      <a:pt x="1775" y="5955"/>
                      <a:pt x="2430" y="6277"/>
                      <a:pt x="3144" y="6360"/>
                    </a:cubicBezTo>
                    <a:lnTo>
                      <a:pt x="3156" y="6360"/>
                    </a:lnTo>
                    <a:cubicBezTo>
                      <a:pt x="3251" y="6360"/>
                      <a:pt x="3311" y="6300"/>
                      <a:pt x="3323" y="6217"/>
                    </a:cubicBezTo>
                    <a:cubicBezTo>
                      <a:pt x="3334" y="6122"/>
                      <a:pt x="3263" y="6038"/>
                      <a:pt x="3168" y="6038"/>
                    </a:cubicBezTo>
                    <a:cubicBezTo>
                      <a:pt x="2537" y="5955"/>
                      <a:pt x="1941" y="5681"/>
                      <a:pt x="1477" y="5217"/>
                    </a:cubicBezTo>
                    <a:cubicBezTo>
                      <a:pt x="358" y="4098"/>
                      <a:pt x="358" y="2264"/>
                      <a:pt x="1477" y="1157"/>
                    </a:cubicBezTo>
                    <a:cubicBezTo>
                      <a:pt x="1941" y="692"/>
                      <a:pt x="2513" y="407"/>
                      <a:pt x="3168" y="335"/>
                    </a:cubicBezTo>
                    <a:cubicBezTo>
                      <a:pt x="3263" y="311"/>
                      <a:pt x="3334" y="240"/>
                      <a:pt x="3323" y="157"/>
                    </a:cubicBezTo>
                    <a:cubicBezTo>
                      <a:pt x="3312" y="68"/>
                      <a:pt x="3239" y="1"/>
                      <a:pt x="316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25AB410E-9F14-4018-BE4E-BE8D74F1ADCB}"/>
              </a:ext>
            </a:extLst>
          </p:cNvPr>
          <p:cNvGrpSpPr/>
          <p:nvPr/>
        </p:nvGrpSpPr>
        <p:grpSpPr>
          <a:xfrm>
            <a:off x="7908295" y="2099352"/>
            <a:ext cx="3312000" cy="3300436"/>
            <a:chOff x="603685" y="1510227"/>
            <a:chExt cx="6012002" cy="1997769"/>
          </a:xfrm>
        </p:grpSpPr>
        <p:sp>
          <p:nvSpPr>
            <p:cNvPr id="80" name="TextBox 4">
              <a:extLst>
                <a:ext uri="{FF2B5EF4-FFF2-40B4-BE49-F238E27FC236}">
                  <a16:creationId xmlns:a16="http://schemas.microsoft.com/office/drawing/2014/main" id="{B4198084-010D-43B5-90F8-2A23352817B2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03685" y="1510227"/>
              <a:ext cx="6012000" cy="19977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rget state components addressed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prehensive and controlled data sharing with other agencies and providers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mated connections with external data sources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910D9B8-E925-4CCE-8FE4-A614126827F0}"/>
                </a:ext>
              </a:extLst>
            </p:cNvPr>
            <p:cNvCxnSpPr>
              <a:cxnSpLocks/>
            </p:cNvCxnSpPr>
            <p:nvPr/>
          </p:nvCxnSpPr>
          <p:spPr>
            <a:xfrm>
              <a:off x="603685" y="1515257"/>
              <a:ext cx="6012002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Google Shape;10072;p57">
            <a:extLst>
              <a:ext uri="{FF2B5EF4-FFF2-40B4-BE49-F238E27FC236}">
                <a16:creationId xmlns:a16="http://schemas.microsoft.com/office/drawing/2014/main" id="{FC2FDE91-8A4A-4588-874B-F039575CFF3B}"/>
              </a:ext>
            </a:extLst>
          </p:cNvPr>
          <p:cNvGrpSpPr>
            <a:grpSpLocks/>
          </p:cNvGrpSpPr>
          <p:nvPr/>
        </p:nvGrpSpPr>
        <p:grpSpPr>
          <a:xfrm>
            <a:off x="10985120" y="3908757"/>
            <a:ext cx="180695" cy="176191"/>
            <a:chOff x="3040984" y="3681059"/>
            <a:chExt cx="356164" cy="355815"/>
          </a:xfrm>
          <a:solidFill>
            <a:schemeClr val="bg1"/>
          </a:solidFill>
        </p:grpSpPr>
        <p:sp>
          <p:nvSpPr>
            <p:cNvPr id="88" name="Google Shape;10073;p57">
              <a:extLst>
                <a:ext uri="{FF2B5EF4-FFF2-40B4-BE49-F238E27FC236}">
                  <a16:creationId xmlns:a16="http://schemas.microsoft.com/office/drawing/2014/main" id="{88E85D9F-CB0B-4A08-8967-F20D2BFBBCEA}"/>
                </a:ext>
              </a:extLst>
            </p:cNvPr>
            <p:cNvSpPr/>
            <p:nvPr/>
          </p:nvSpPr>
          <p:spPr>
            <a:xfrm>
              <a:off x="3040984" y="3681059"/>
              <a:ext cx="356164" cy="355815"/>
            </a:xfrm>
            <a:custGeom>
              <a:avLst/>
              <a:gdLst/>
              <a:ahLst/>
              <a:cxnLst/>
              <a:rect l="l" t="t" r="r" b="b"/>
              <a:pathLst>
                <a:path w="11216" h="11205" extrusionOk="0">
                  <a:moveTo>
                    <a:pt x="5620" y="0"/>
                  </a:moveTo>
                  <a:cubicBezTo>
                    <a:pt x="4274" y="0"/>
                    <a:pt x="2965" y="488"/>
                    <a:pt x="1953" y="1369"/>
                  </a:cubicBezTo>
                  <a:cubicBezTo>
                    <a:pt x="1881" y="1429"/>
                    <a:pt x="1881" y="1536"/>
                    <a:pt x="1941" y="1608"/>
                  </a:cubicBezTo>
                  <a:cubicBezTo>
                    <a:pt x="1972" y="1645"/>
                    <a:pt x="2016" y="1663"/>
                    <a:pt x="2061" y="1663"/>
                  </a:cubicBezTo>
                  <a:cubicBezTo>
                    <a:pt x="2103" y="1663"/>
                    <a:pt x="2145" y="1648"/>
                    <a:pt x="2179" y="1620"/>
                  </a:cubicBezTo>
                  <a:cubicBezTo>
                    <a:pt x="3131" y="786"/>
                    <a:pt x="4358" y="346"/>
                    <a:pt x="5620" y="346"/>
                  </a:cubicBezTo>
                  <a:cubicBezTo>
                    <a:pt x="7013" y="346"/>
                    <a:pt x="8346" y="893"/>
                    <a:pt x="9335" y="1893"/>
                  </a:cubicBezTo>
                  <a:cubicBezTo>
                    <a:pt x="10335" y="2882"/>
                    <a:pt x="10882" y="4215"/>
                    <a:pt x="10882" y="5608"/>
                  </a:cubicBezTo>
                  <a:cubicBezTo>
                    <a:pt x="10882" y="7013"/>
                    <a:pt x="10335" y="8335"/>
                    <a:pt x="9335" y="9335"/>
                  </a:cubicBezTo>
                  <a:cubicBezTo>
                    <a:pt x="8346" y="10323"/>
                    <a:pt x="7013" y="10883"/>
                    <a:pt x="5620" y="10883"/>
                  </a:cubicBezTo>
                  <a:cubicBezTo>
                    <a:pt x="4215" y="10883"/>
                    <a:pt x="2893" y="10323"/>
                    <a:pt x="1893" y="9335"/>
                  </a:cubicBezTo>
                  <a:cubicBezTo>
                    <a:pt x="893" y="8335"/>
                    <a:pt x="345" y="7013"/>
                    <a:pt x="345" y="5608"/>
                  </a:cubicBezTo>
                  <a:cubicBezTo>
                    <a:pt x="345" y="4298"/>
                    <a:pt x="822" y="3048"/>
                    <a:pt x="1703" y="2084"/>
                  </a:cubicBezTo>
                  <a:cubicBezTo>
                    <a:pt x="1762" y="2012"/>
                    <a:pt x="1762" y="1905"/>
                    <a:pt x="1691" y="1846"/>
                  </a:cubicBezTo>
                  <a:cubicBezTo>
                    <a:pt x="1657" y="1817"/>
                    <a:pt x="1614" y="1802"/>
                    <a:pt x="1573" y="1802"/>
                  </a:cubicBezTo>
                  <a:cubicBezTo>
                    <a:pt x="1528" y="1802"/>
                    <a:pt x="1484" y="1820"/>
                    <a:pt x="1453" y="1858"/>
                  </a:cubicBezTo>
                  <a:cubicBezTo>
                    <a:pt x="512" y="2882"/>
                    <a:pt x="0" y="4227"/>
                    <a:pt x="0" y="5608"/>
                  </a:cubicBezTo>
                  <a:cubicBezTo>
                    <a:pt x="0" y="7096"/>
                    <a:pt x="583" y="8513"/>
                    <a:pt x="1643" y="9573"/>
                  </a:cubicBezTo>
                  <a:cubicBezTo>
                    <a:pt x="2703" y="10621"/>
                    <a:pt x="4096" y="11204"/>
                    <a:pt x="5608" y="11204"/>
                  </a:cubicBezTo>
                  <a:cubicBezTo>
                    <a:pt x="7108" y="11204"/>
                    <a:pt x="8501" y="10621"/>
                    <a:pt x="9561" y="9573"/>
                  </a:cubicBezTo>
                  <a:cubicBezTo>
                    <a:pt x="10620" y="8513"/>
                    <a:pt x="11204" y="7108"/>
                    <a:pt x="11204" y="5608"/>
                  </a:cubicBezTo>
                  <a:cubicBezTo>
                    <a:pt x="11216" y="4096"/>
                    <a:pt x="10632" y="2691"/>
                    <a:pt x="9573" y="1631"/>
                  </a:cubicBezTo>
                  <a:cubicBezTo>
                    <a:pt x="8525" y="572"/>
                    <a:pt x="7120" y="0"/>
                    <a:pt x="56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Google Shape;10074;p57">
              <a:extLst>
                <a:ext uri="{FF2B5EF4-FFF2-40B4-BE49-F238E27FC236}">
                  <a16:creationId xmlns:a16="http://schemas.microsoft.com/office/drawing/2014/main" id="{91AB848E-4A6E-44AA-9525-9E1A0B8ADC70}"/>
                </a:ext>
              </a:extLst>
            </p:cNvPr>
            <p:cNvSpPr/>
            <p:nvPr/>
          </p:nvSpPr>
          <p:spPr>
            <a:xfrm>
              <a:off x="3183120" y="3921508"/>
              <a:ext cx="59414" cy="59382"/>
            </a:xfrm>
            <a:custGeom>
              <a:avLst/>
              <a:gdLst/>
              <a:ahLst/>
              <a:cxnLst/>
              <a:rect l="l" t="t" r="r" b="b"/>
              <a:pathLst>
                <a:path w="1871" h="1870" extrusionOk="0">
                  <a:moveTo>
                    <a:pt x="929" y="334"/>
                  </a:moveTo>
                  <a:cubicBezTo>
                    <a:pt x="1263" y="334"/>
                    <a:pt x="1549" y="608"/>
                    <a:pt x="1549" y="941"/>
                  </a:cubicBezTo>
                  <a:cubicBezTo>
                    <a:pt x="1549" y="1263"/>
                    <a:pt x="1263" y="1548"/>
                    <a:pt x="929" y="1548"/>
                  </a:cubicBezTo>
                  <a:cubicBezTo>
                    <a:pt x="608" y="1548"/>
                    <a:pt x="334" y="1287"/>
                    <a:pt x="334" y="941"/>
                  </a:cubicBezTo>
                  <a:cubicBezTo>
                    <a:pt x="334" y="596"/>
                    <a:pt x="608" y="334"/>
                    <a:pt x="929" y="334"/>
                  </a:cubicBezTo>
                  <a:close/>
                  <a:moveTo>
                    <a:pt x="929" y="1"/>
                  </a:moveTo>
                  <a:cubicBezTo>
                    <a:pt x="429" y="1"/>
                    <a:pt x="1" y="417"/>
                    <a:pt x="1" y="941"/>
                  </a:cubicBezTo>
                  <a:cubicBezTo>
                    <a:pt x="1" y="1453"/>
                    <a:pt x="417" y="1870"/>
                    <a:pt x="929" y="1870"/>
                  </a:cubicBezTo>
                  <a:cubicBezTo>
                    <a:pt x="1191" y="1870"/>
                    <a:pt x="1430" y="1775"/>
                    <a:pt x="1608" y="1596"/>
                  </a:cubicBezTo>
                  <a:cubicBezTo>
                    <a:pt x="1787" y="1417"/>
                    <a:pt x="1870" y="1179"/>
                    <a:pt x="1870" y="941"/>
                  </a:cubicBezTo>
                  <a:cubicBezTo>
                    <a:pt x="1870" y="679"/>
                    <a:pt x="1763" y="453"/>
                    <a:pt x="1584" y="263"/>
                  </a:cubicBezTo>
                  <a:cubicBezTo>
                    <a:pt x="1406" y="108"/>
                    <a:pt x="1191" y="1"/>
                    <a:pt x="92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Google Shape;10075;p57">
              <a:extLst>
                <a:ext uri="{FF2B5EF4-FFF2-40B4-BE49-F238E27FC236}">
                  <a16:creationId xmlns:a16="http://schemas.microsoft.com/office/drawing/2014/main" id="{0DBB48FF-5D37-41DB-A162-3757F0FF4E82}"/>
                </a:ext>
              </a:extLst>
            </p:cNvPr>
            <p:cNvSpPr/>
            <p:nvPr/>
          </p:nvSpPr>
          <p:spPr>
            <a:xfrm>
              <a:off x="3149110" y="3735868"/>
              <a:ext cx="141056" cy="174716"/>
            </a:xfrm>
            <a:custGeom>
              <a:avLst/>
              <a:gdLst/>
              <a:ahLst/>
              <a:cxnLst/>
              <a:rect l="l" t="t" r="r" b="b"/>
              <a:pathLst>
                <a:path w="4442" h="5502" extrusionOk="0">
                  <a:moveTo>
                    <a:pt x="2143" y="1"/>
                  </a:moveTo>
                  <a:cubicBezTo>
                    <a:pt x="1322" y="1"/>
                    <a:pt x="810" y="286"/>
                    <a:pt x="536" y="501"/>
                  </a:cubicBezTo>
                  <a:cubicBezTo>
                    <a:pt x="191" y="786"/>
                    <a:pt x="0" y="1156"/>
                    <a:pt x="0" y="1513"/>
                  </a:cubicBezTo>
                  <a:cubicBezTo>
                    <a:pt x="0" y="1739"/>
                    <a:pt x="84" y="1941"/>
                    <a:pt x="262" y="2084"/>
                  </a:cubicBezTo>
                  <a:cubicBezTo>
                    <a:pt x="393" y="2203"/>
                    <a:pt x="596" y="2263"/>
                    <a:pt x="774" y="2263"/>
                  </a:cubicBezTo>
                  <a:cubicBezTo>
                    <a:pt x="1084" y="2263"/>
                    <a:pt x="1227" y="2049"/>
                    <a:pt x="1334" y="1894"/>
                  </a:cubicBezTo>
                  <a:cubicBezTo>
                    <a:pt x="1465" y="1679"/>
                    <a:pt x="1596" y="1489"/>
                    <a:pt x="2108" y="1489"/>
                  </a:cubicBezTo>
                  <a:cubicBezTo>
                    <a:pt x="2286" y="1489"/>
                    <a:pt x="2858" y="1525"/>
                    <a:pt x="2858" y="2001"/>
                  </a:cubicBezTo>
                  <a:cubicBezTo>
                    <a:pt x="2858" y="2358"/>
                    <a:pt x="2512" y="2632"/>
                    <a:pt x="2227" y="2858"/>
                  </a:cubicBezTo>
                  <a:cubicBezTo>
                    <a:pt x="2155" y="2918"/>
                    <a:pt x="2072" y="2965"/>
                    <a:pt x="2024" y="3025"/>
                  </a:cubicBezTo>
                  <a:cubicBezTo>
                    <a:pt x="1679" y="3323"/>
                    <a:pt x="1286" y="3763"/>
                    <a:pt x="1286" y="4668"/>
                  </a:cubicBezTo>
                  <a:cubicBezTo>
                    <a:pt x="1286" y="5180"/>
                    <a:pt x="1405" y="5501"/>
                    <a:pt x="2000" y="5501"/>
                  </a:cubicBezTo>
                  <a:cubicBezTo>
                    <a:pt x="2274" y="5501"/>
                    <a:pt x="2465" y="5442"/>
                    <a:pt x="2596" y="5323"/>
                  </a:cubicBezTo>
                  <a:cubicBezTo>
                    <a:pt x="2703" y="5216"/>
                    <a:pt x="2762" y="5085"/>
                    <a:pt x="2762" y="4918"/>
                  </a:cubicBezTo>
                  <a:cubicBezTo>
                    <a:pt x="2762" y="4430"/>
                    <a:pt x="2762" y="4192"/>
                    <a:pt x="3263" y="3787"/>
                  </a:cubicBezTo>
                  <a:lnTo>
                    <a:pt x="3286" y="3787"/>
                  </a:lnTo>
                  <a:cubicBezTo>
                    <a:pt x="3298" y="3775"/>
                    <a:pt x="3322" y="3763"/>
                    <a:pt x="3358" y="3727"/>
                  </a:cubicBezTo>
                  <a:cubicBezTo>
                    <a:pt x="3429" y="3680"/>
                    <a:pt x="3453" y="3573"/>
                    <a:pt x="3393" y="3489"/>
                  </a:cubicBezTo>
                  <a:cubicBezTo>
                    <a:pt x="3360" y="3449"/>
                    <a:pt x="3311" y="3427"/>
                    <a:pt x="3261" y="3427"/>
                  </a:cubicBezTo>
                  <a:cubicBezTo>
                    <a:pt x="3224" y="3427"/>
                    <a:pt x="3186" y="3440"/>
                    <a:pt x="3155" y="3465"/>
                  </a:cubicBezTo>
                  <a:cubicBezTo>
                    <a:pt x="3120" y="3477"/>
                    <a:pt x="3108" y="3513"/>
                    <a:pt x="3072" y="3525"/>
                  </a:cubicBezTo>
                  <a:lnTo>
                    <a:pt x="3060" y="3525"/>
                  </a:lnTo>
                  <a:cubicBezTo>
                    <a:pt x="2465" y="3989"/>
                    <a:pt x="2429" y="4346"/>
                    <a:pt x="2429" y="4906"/>
                  </a:cubicBezTo>
                  <a:cubicBezTo>
                    <a:pt x="2429" y="4977"/>
                    <a:pt x="2429" y="5156"/>
                    <a:pt x="2000" y="5156"/>
                  </a:cubicBezTo>
                  <a:cubicBezTo>
                    <a:pt x="1798" y="5156"/>
                    <a:pt x="1739" y="5120"/>
                    <a:pt x="1703" y="5085"/>
                  </a:cubicBezTo>
                  <a:cubicBezTo>
                    <a:pt x="1643" y="5025"/>
                    <a:pt x="1619" y="4882"/>
                    <a:pt x="1619" y="4656"/>
                  </a:cubicBezTo>
                  <a:cubicBezTo>
                    <a:pt x="1619" y="3882"/>
                    <a:pt x="1929" y="3513"/>
                    <a:pt x="2227" y="3251"/>
                  </a:cubicBezTo>
                  <a:cubicBezTo>
                    <a:pt x="2286" y="3215"/>
                    <a:pt x="2346" y="3156"/>
                    <a:pt x="2417" y="3108"/>
                  </a:cubicBezTo>
                  <a:cubicBezTo>
                    <a:pt x="2762" y="2858"/>
                    <a:pt x="3179" y="2525"/>
                    <a:pt x="3179" y="1989"/>
                  </a:cubicBezTo>
                  <a:cubicBezTo>
                    <a:pt x="3179" y="1465"/>
                    <a:pt x="2762" y="1144"/>
                    <a:pt x="2108" y="1144"/>
                  </a:cubicBezTo>
                  <a:cubicBezTo>
                    <a:pt x="1417" y="1144"/>
                    <a:pt x="1215" y="1453"/>
                    <a:pt x="1048" y="1691"/>
                  </a:cubicBezTo>
                  <a:cubicBezTo>
                    <a:pt x="941" y="1858"/>
                    <a:pt x="881" y="1918"/>
                    <a:pt x="750" y="1918"/>
                  </a:cubicBezTo>
                  <a:cubicBezTo>
                    <a:pt x="572" y="1918"/>
                    <a:pt x="322" y="1810"/>
                    <a:pt x="322" y="1513"/>
                  </a:cubicBezTo>
                  <a:cubicBezTo>
                    <a:pt x="322" y="1322"/>
                    <a:pt x="429" y="1025"/>
                    <a:pt x="738" y="775"/>
                  </a:cubicBezTo>
                  <a:cubicBezTo>
                    <a:pt x="977" y="572"/>
                    <a:pt x="1405" y="334"/>
                    <a:pt x="2131" y="334"/>
                  </a:cubicBezTo>
                  <a:cubicBezTo>
                    <a:pt x="3298" y="334"/>
                    <a:pt x="4120" y="953"/>
                    <a:pt x="4120" y="1822"/>
                  </a:cubicBezTo>
                  <a:cubicBezTo>
                    <a:pt x="4120" y="2227"/>
                    <a:pt x="3941" y="2644"/>
                    <a:pt x="3596" y="3037"/>
                  </a:cubicBezTo>
                  <a:cubicBezTo>
                    <a:pt x="3524" y="3096"/>
                    <a:pt x="3536" y="3203"/>
                    <a:pt x="3596" y="3263"/>
                  </a:cubicBezTo>
                  <a:cubicBezTo>
                    <a:pt x="3629" y="3290"/>
                    <a:pt x="3669" y="3305"/>
                    <a:pt x="3709" y="3305"/>
                  </a:cubicBezTo>
                  <a:cubicBezTo>
                    <a:pt x="3755" y="3305"/>
                    <a:pt x="3802" y="3284"/>
                    <a:pt x="3834" y="3239"/>
                  </a:cubicBezTo>
                  <a:cubicBezTo>
                    <a:pt x="4239" y="2787"/>
                    <a:pt x="4441" y="2310"/>
                    <a:pt x="4441" y="1810"/>
                  </a:cubicBezTo>
                  <a:cubicBezTo>
                    <a:pt x="4441" y="1287"/>
                    <a:pt x="4203" y="834"/>
                    <a:pt x="3786" y="501"/>
                  </a:cubicBezTo>
                  <a:cubicBezTo>
                    <a:pt x="3370" y="179"/>
                    <a:pt x="2798" y="1"/>
                    <a:pt x="2143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6E494A2-55C3-4AFC-9FE7-55532B9513D6}"/>
              </a:ext>
            </a:extLst>
          </p:cNvPr>
          <p:cNvGrpSpPr/>
          <p:nvPr/>
        </p:nvGrpSpPr>
        <p:grpSpPr>
          <a:xfrm>
            <a:off x="7462351" y="2118810"/>
            <a:ext cx="289650" cy="256374"/>
            <a:chOff x="10927467" y="2335634"/>
            <a:chExt cx="289650" cy="25637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F11FC4B-6B53-42E1-BC0B-612274A7AAD7}"/>
                </a:ext>
              </a:extLst>
            </p:cNvPr>
            <p:cNvSpPr>
              <a:spLocks/>
            </p:cNvSpPr>
            <p:nvPr/>
          </p:nvSpPr>
          <p:spPr>
            <a:xfrm>
              <a:off x="10927467" y="2335634"/>
              <a:ext cx="289650" cy="25637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34" name="Idea Google Shape;10130;p57">
              <a:extLst>
                <a:ext uri="{FF2B5EF4-FFF2-40B4-BE49-F238E27FC236}">
                  <a16:creationId xmlns:a16="http://schemas.microsoft.com/office/drawing/2014/main" id="{3227F15B-1195-4419-A2EC-19F2D1C7268B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0990069" y="2375725"/>
              <a:ext cx="164445" cy="176192"/>
              <a:chOff x="5463762" y="5502505"/>
              <a:chExt cx="491329" cy="526428"/>
            </a:xfrm>
            <a:solidFill>
              <a:srgbClr val="FFFFFF"/>
            </a:solidFill>
          </p:grpSpPr>
          <p:sp>
            <p:nvSpPr>
              <p:cNvPr id="136" name="Google Shape;10131;p57">
                <a:extLst>
                  <a:ext uri="{FF2B5EF4-FFF2-40B4-BE49-F238E27FC236}">
                    <a16:creationId xmlns:a16="http://schemas.microsoft.com/office/drawing/2014/main" id="{B97F975D-D5D0-4F98-92BD-811A4A056B2A}"/>
                  </a:ext>
                </a:extLst>
              </p:cNvPr>
              <p:cNvSpPr/>
              <p:nvPr/>
            </p:nvSpPr>
            <p:spPr>
              <a:xfrm>
                <a:off x="5544752" y="5590432"/>
                <a:ext cx="322368" cy="438501"/>
              </a:xfrm>
              <a:custGeom>
                <a:avLst/>
                <a:gdLst/>
                <a:ahLst/>
                <a:cxnLst/>
                <a:rect l="l" t="t" r="r" b="b"/>
                <a:pathLst>
                  <a:path w="7109" h="9670" extrusionOk="0">
                    <a:moveTo>
                      <a:pt x="3643" y="359"/>
                    </a:moveTo>
                    <a:cubicBezTo>
                      <a:pt x="4417" y="359"/>
                      <a:pt x="5132" y="645"/>
                      <a:pt x="5703" y="1157"/>
                    </a:cubicBezTo>
                    <a:cubicBezTo>
                      <a:pt x="6358" y="1752"/>
                      <a:pt x="6751" y="2597"/>
                      <a:pt x="6751" y="3478"/>
                    </a:cubicBezTo>
                    <a:cubicBezTo>
                      <a:pt x="6739" y="4074"/>
                      <a:pt x="6572" y="4669"/>
                      <a:pt x="6251" y="5157"/>
                    </a:cubicBezTo>
                    <a:cubicBezTo>
                      <a:pt x="5929" y="5645"/>
                      <a:pt x="5489" y="6038"/>
                      <a:pt x="4953" y="6288"/>
                    </a:cubicBezTo>
                    <a:cubicBezTo>
                      <a:pt x="4620" y="6431"/>
                      <a:pt x="4417" y="6776"/>
                      <a:pt x="4417" y="7146"/>
                    </a:cubicBezTo>
                    <a:lnTo>
                      <a:pt x="4417" y="7360"/>
                    </a:lnTo>
                    <a:lnTo>
                      <a:pt x="2834" y="7360"/>
                    </a:lnTo>
                    <a:lnTo>
                      <a:pt x="2834" y="7146"/>
                    </a:lnTo>
                    <a:cubicBezTo>
                      <a:pt x="2834" y="6776"/>
                      <a:pt x="2631" y="6455"/>
                      <a:pt x="2298" y="6288"/>
                    </a:cubicBezTo>
                    <a:cubicBezTo>
                      <a:pt x="1084" y="5705"/>
                      <a:pt x="381" y="4407"/>
                      <a:pt x="548" y="3074"/>
                    </a:cubicBezTo>
                    <a:cubicBezTo>
                      <a:pt x="726" y="1669"/>
                      <a:pt x="1869" y="526"/>
                      <a:pt x="3286" y="383"/>
                    </a:cubicBezTo>
                    <a:cubicBezTo>
                      <a:pt x="3405" y="359"/>
                      <a:pt x="3524" y="359"/>
                      <a:pt x="3643" y="359"/>
                    </a:cubicBezTo>
                    <a:close/>
                    <a:moveTo>
                      <a:pt x="4417" y="7729"/>
                    </a:moveTo>
                    <a:lnTo>
                      <a:pt x="4417" y="8324"/>
                    </a:lnTo>
                    <a:cubicBezTo>
                      <a:pt x="4417" y="8443"/>
                      <a:pt x="4322" y="8539"/>
                      <a:pt x="4203" y="8539"/>
                    </a:cubicBezTo>
                    <a:lnTo>
                      <a:pt x="3048" y="8539"/>
                    </a:lnTo>
                    <a:cubicBezTo>
                      <a:pt x="2929" y="8539"/>
                      <a:pt x="2834" y="8443"/>
                      <a:pt x="2834" y="8324"/>
                    </a:cubicBezTo>
                    <a:lnTo>
                      <a:pt x="2834" y="7729"/>
                    </a:lnTo>
                    <a:close/>
                    <a:moveTo>
                      <a:pt x="4024" y="8896"/>
                    </a:moveTo>
                    <a:lnTo>
                      <a:pt x="4024" y="9098"/>
                    </a:lnTo>
                    <a:cubicBezTo>
                      <a:pt x="4024" y="9217"/>
                      <a:pt x="3941" y="9313"/>
                      <a:pt x="3822" y="9313"/>
                    </a:cubicBezTo>
                    <a:lnTo>
                      <a:pt x="3429" y="9313"/>
                    </a:lnTo>
                    <a:cubicBezTo>
                      <a:pt x="3310" y="9313"/>
                      <a:pt x="3227" y="9217"/>
                      <a:pt x="3227" y="9098"/>
                    </a:cubicBezTo>
                    <a:lnTo>
                      <a:pt x="3227" y="8896"/>
                    </a:lnTo>
                    <a:close/>
                    <a:moveTo>
                      <a:pt x="3658" y="1"/>
                    </a:moveTo>
                    <a:cubicBezTo>
                      <a:pt x="3519" y="1"/>
                      <a:pt x="3379" y="9"/>
                      <a:pt x="3239" y="26"/>
                    </a:cubicBezTo>
                    <a:cubicBezTo>
                      <a:pt x="1667" y="204"/>
                      <a:pt x="381" y="1466"/>
                      <a:pt x="191" y="3026"/>
                    </a:cubicBezTo>
                    <a:cubicBezTo>
                      <a:pt x="0" y="4526"/>
                      <a:pt x="786" y="5979"/>
                      <a:pt x="2155" y="6610"/>
                    </a:cubicBezTo>
                    <a:cubicBezTo>
                      <a:pt x="2358" y="6705"/>
                      <a:pt x="2477" y="6931"/>
                      <a:pt x="2477" y="7146"/>
                    </a:cubicBezTo>
                    <a:lnTo>
                      <a:pt x="2477" y="8324"/>
                    </a:lnTo>
                    <a:cubicBezTo>
                      <a:pt x="2477" y="8574"/>
                      <a:pt x="2643" y="8789"/>
                      <a:pt x="2870" y="8860"/>
                    </a:cubicBezTo>
                    <a:lnTo>
                      <a:pt x="2870" y="9098"/>
                    </a:lnTo>
                    <a:cubicBezTo>
                      <a:pt x="2870" y="9408"/>
                      <a:pt x="3120" y="9670"/>
                      <a:pt x="3429" y="9670"/>
                    </a:cubicBezTo>
                    <a:lnTo>
                      <a:pt x="3822" y="9670"/>
                    </a:lnTo>
                    <a:cubicBezTo>
                      <a:pt x="4132" y="9670"/>
                      <a:pt x="4382" y="9408"/>
                      <a:pt x="4382" y="9098"/>
                    </a:cubicBezTo>
                    <a:lnTo>
                      <a:pt x="4382" y="8860"/>
                    </a:lnTo>
                    <a:cubicBezTo>
                      <a:pt x="4608" y="8789"/>
                      <a:pt x="4775" y="8574"/>
                      <a:pt x="4775" y="8324"/>
                    </a:cubicBezTo>
                    <a:lnTo>
                      <a:pt x="4775" y="7146"/>
                    </a:lnTo>
                    <a:cubicBezTo>
                      <a:pt x="4775" y="6931"/>
                      <a:pt x="4906" y="6717"/>
                      <a:pt x="5096" y="6610"/>
                    </a:cubicBezTo>
                    <a:cubicBezTo>
                      <a:pt x="5691" y="6336"/>
                      <a:pt x="6191" y="5895"/>
                      <a:pt x="6549" y="5348"/>
                    </a:cubicBezTo>
                    <a:cubicBezTo>
                      <a:pt x="6906" y="4788"/>
                      <a:pt x="7096" y="4133"/>
                      <a:pt x="7096" y="3455"/>
                    </a:cubicBezTo>
                    <a:cubicBezTo>
                      <a:pt x="7108" y="2490"/>
                      <a:pt x="6680" y="1538"/>
                      <a:pt x="5953" y="883"/>
                    </a:cubicBezTo>
                    <a:cubicBezTo>
                      <a:pt x="5309" y="310"/>
                      <a:pt x="4506" y="1"/>
                      <a:pt x="365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Google Shape;10132;p57">
                <a:extLst>
                  <a:ext uri="{FF2B5EF4-FFF2-40B4-BE49-F238E27FC236}">
                    <a16:creationId xmlns:a16="http://schemas.microsoft.com/office/drawing/2014/main" id="{F67AF24D-CAE8-479B-B4B3-4EA5AA7074EC}"/>
                  </a:ext>
                </a:extLst>
              </p:cNvPr>
              <p:cNvSpPr/>
              <p:nvPr/>
            </p:nvSpPr>
            <p:spPr>
              <a:xfrm>
                <a:off x="5885938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80" y="1"/>
                    </a:moveTo>
                    <a:cubicBezTo>
                      <a:pt x="72" y="1"/>
                      <a:pt x="1" y="72"/>
                      <a:pt x="1" y="179"/>
                    </a:cubicBezTo>
                    <a:cubicBezTo>
                      <a:pt x="1" y="275"/>
                      <a:pt x="72" y="358"/>
                      <a:pt x="180" y="358"/>
                    </a:cubicBezTo>
                    <a:lnTo>
                      <a:pt x="1346" y="358"/>
                    </a:lnTo>
                    <a:cubicBezTo>
                      <a:pt x="1442" y="358"/>
                      <a:pt x="1525" y="275"/>
                      <a:pt x="1525" y="179"/>
                    </a:cubicBezTo>
                    <a:cubicBezTo>
                      <a:pt x="1525" y="72"/>
                      <a:pt x="1430" y="1"/>
                      <a:pt x="134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Google Shape;10133;p57">
                <a:extLst>
                  <a:ext uri="{FF2B5EF4-FFF2-40B4-BE49-F238E27FC236}">
                    <a16:creationId xmlns:a16="http://schemas.microsoft.com/office/drawing/2014/main" id="{8D6EDCC8-D9B1-4E51-B414-AD5F06CF02A8}"/>
                  </a:ext>
                </a:extLst>
              </p:cNvPr>
              <p:cNvSpPr/>
              <p:nvPr/>
            </p:nvSpPr>
            <p:spPr>
              <a:xfrm>
                <a:off x="5463762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79" y="1"/>
                    </a:moveTo>
                    <a:cubicBezTo>
                      <a:pt x="72" y="1"/>
                      <a:pt x="0" y="72"/>
                      <a:pt x="0" y="179"/>
                    </a:cubicBezTo>
                    <a:cubicBezTo>
                      <a:pt x="0" y="275"/>
                      <a:pt x="72" y="358"/>
                      <a:pt x="179" y="358"/>
                    </a:cubicBezTo>
                    <a:lnTo>
                      <a:pt x="1334" y="358"/>
                    </a:lnTo>
                    <a:cubicBezTo>
                      <a:pt x="1441" y="358"/>
                      <a:pt x="1512" y="275"/>
                      <a:pt x="1512" y="179"/>
                    </a:cubicBezTo>
                    <a:cubicBezTo>
                      <a:pt x="1524" y="72"/>
                      <a:pt x="1441" y="1"/>
                      <a:pt x="13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Google Shape;10134;p57">
                <a:extLst>
                  <a:ext uri="{FF2B5EF4-FFF2-40B4-BE49-F238E27FC236}">
                    <a16:creationId xmlns:a16="http://schemas.microsoft.com/office/drawing/2014/main" id="{047D8D13-C940-4E12-90AF-7B828581A2AA}"/>
                  </a:ext>
                </a:extLst>
              </p:cNvPr>
              <p:cNvSpPr/>
              <p:nvPr/>
            </p:nvSpPr>
            <p:spPr>
              <a:xfrm>
                <a:off x="5701288" y="5502505"/>
                <a:ext cx="16279" cy="68609"/>
              </a:xfrm>
              <a:custGeom>
                <a:avLst/>
                <a:gdLst/>
                <a:ahLst/>
                <a:cxnLst/>
                <a:rect l="l" t="t" r="r" b="b"/>
                <a:pathLst>
                  <a:path w="359" h="1513" extrusionOk="0">
                    <a:moveTo>
                      <a:pt x="180" y="0"/>
                    </a:moveTo>
                    <a:cubicBezTo>
                      <a:pt x="72" y="0"/>
                      <a:pt x="1" y="72"/>
                      <a:pt x="1" y="179"/>
                    </a:cubicBezTo>
                    <a:lnTo>
                      <a:pt x="1" y="1334"/>
                    </a:lnTo>
                    <a:cubicBezTo>
                      <a:pt x="1" y="1441"/>
                      <a:pt x="72" y="1512"/>
                      <a:pt x="180" y="1512"/>
                    </a:cubicBezTo>
                    <a:cubicBezTo>
                      <a:pt x="275" y="1512"/>
                      <a:pt x="358" y="1441"/>
                      <a:pt x="358" y="1334"/>
                    </a:cubicBezTo>
                    <a:lnTo>
                      <a:pt x="358" y="179"/>
                    </a:lnTo>
                    <a:cubicBezTo>
                      <a:pt x="358" y="72"/>
                      <a:pt x="275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Google Shape;10135;p57">
                <a:extLst>
                  <a:ext uri="{FF2B5EF4-FFF2-40B4-BE49-F238E27FC236}">
                    <a16:creationId xmlns:a16="http://schemas.microsoft.com/office/drawing/2014/main" id="{D9E90294-8DEA-4721-B66F-C5F688052AEC}"/>
                  </a:ext>
                </a:extLst>
              </p:cNvPr>
              <p:cNvSpPr/>
              <p:nvPr/>
            </p:nvSpPr>
            <p:spPr>
              <a:xfrm>
                <a:off x="5791482" y="5557375"/>
                <a:ext cx="32423" cy="39633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74" extrusionOk="0">
                    <a:moveTo>
                      <a:pt x="513" y="0"/>
                    </a:moveTo>
                    <a:cubicBezTo>
                      <a:pt x="451" y="0"/>
                      <a:pt x="387" y="27"/>
                      <a:pt x="346" y="76"/>
                    </a:cubicBezTo>
                    <a:lnTo>
                      <a:pt x="48" y="588"/>
                    </a:lnTo>
                    <a:cubicBezTo>
                      <a:pt x="0" y="671"/>
                      <a:pt x="24" y="778"/>
                      <a:pt x="107" y="838"/>
                    </a:cubicBezTo>
                    <a:cubicBezTo>
                      <a:pt x="131" y="850"/>
                      <a:pt x="167" y="874"/>
                      <a:pt x="191" y="874"/>
                    </a:cubicBezTo>
                    <a:cubicBezTo>
                      <a:pt x="250" y="874"/>
                      <a:pt x="310" y="838"/>
                      <a:pt x="358" y="778"/>
                    </a:cubicBezTo>
                    <a:lnTo>
                      <a:pt x="655" y="278"/>
                    </a:lnTo>
                    <a:cubicBezTo>
                      <a:pt x="715" y="171"/>
                      <a:pt x="691" y="64"/>
                      <a:pt x="596" y="16"/>
                    </a:cubicBezTo>
                    <a:cubicBezTo>
                      <a:pt x="570" y="5"/>
                      <a:pt x="542" y="0"/>
                      <a:pt x="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Google Shape;10136;p57">
                <a:extLst>
                  <a:ext uri="{FF2B5EF4-FFF2-40B4-BE49-F238E27FC236}">
                    <a16:creationId xmlns:a16="http://schemas.microsoft.com/office/drawing/2014/main" id="{DD02263B-FAAE-4D97-8CE8-16CC868AD08C}"/>
                  </a:ext>
                </a:extLst>
              </p:cNvPr>
              <p:cNvSpPr/>
              <p:nvPr/>
            </p:nvSpPr>
            <p:spPr>
              <a:xfrm>
                <a:off x="5593861" y="5899424"/>
                <a:ext cx="32423" cy="39360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68" extrusionOk="0">
                    <a:moveTo>
                      <a:pt x="507" y="0"/>
                    </a:moveTo>
                    <a:cubicBezTo>
                      <a:pt x="444" y="0"/>
                      <a:pt x="387" y="33"/>
                      <a:pt x="346" y="82"/>
                    </a:cubicBezTo>
                    <a:lnTo>
                      <a:pt x="48" y="594"/>
                    </a:lnTo>
                    <a:cubicBezTo>
                      <a:pt x="1" y="677"/>
                      <a:pt x="24" y="784"/>
                      <a:pt x="108" y="844"/>
                    </a:cubicBezTo>
                    <a:cubicBezTo>
                      <a:pt x="132" y="855"/>
                      <a:pt x="155" y="867"/>
                      <a:pt x="191" y="867"/>
                    </a:cubicBezTo>
                    <a:cubicBezTo>
                      <a:pt x="251" y="867"/>
                      <a:pt x="310" y="844"/>
                      <a:pt x="358" y="784"/>
                    </a:cubicBezTo>
                    <a:lnTo>
                      <a:pt x="655" y="272"/>
                    </a:lnTo>
                    <a:cubicBezTo>
                      <a:pt x="715" y="189"/>
                      <a:pt x="679" y="82"/>
                      <a:pt x="596" y="22"/>
                    </a:cubicBezTo>
                    <a:cubicBezTo>
                      <a:pt x="566" y="7"/>
                      <a:pt x="536" y="0"/>
                      <a:pt x="50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Google Shape;10137;p57">
                <a:extLst>
                  <a:ext uri="{FF2B5EF4-FFF2-40B4-BE49-F238E27FC236}">
                    <a16:creationId xmlns:a16="http://schemas.microsoft.com/office/drawing/2014/main" id="{00A0DC16-D216-47E6-BA23-A5481C2EDD93}"/>
                  </a:ext>
                </a:extLst>
              </p:cNvPr>
              <p:cNvSpPr/>
              <p:nvPr/>
            </p:nvSpPr>
            <p:spPr>
              <a:xfrm>
                <a:off x="5593861" y="5556739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13" y="1"/>
                    </a:moveTo>
                    <a:cubicBezTo>
                      <a:pt x="181" y="1"/>
                      <a:pt x="148" y="10"/>
                      <a:pt x="120" y="30"/>
                    </a:cubicBezTo>
                    <a:cubicBezTo>
                      <a:pt x="24" y="78"/>
                      <a:pt x="1" y="197"/>
                      <a:pt x="60" y="292"/>
                    </a:cubicBezTo>
                    <a:lnTo>
                      <a:pt x="358" y="792"/>
                    </a:lnTo>
                    <a:cubicBezTo>
                      <a:pt x="382" y="852"/>
                      <a:pt x="441" y="888"/>
                      <a:pt x="525" y="888"/>
                    </a:cubicBezTo>
                    <a:cubicBezTo>
                      <a:pt x="548" y="888"/>
                      <a:pt x="584" y="864"/>
                      <a:pt x="608" y="852"/>
                    </a:cubicBezTo>
                    <a:cubicBezTo>
                      <a:pt x="679" y="792"/>
                      <a:pt x="715" y="685"/>
                      <a:pt x="667" y="602"/>
                    </a:cubicBezTo>
                    <a:lnTo>
                      <a:pt x="370" y="90"/>
                    </a:lnTo>
                    <a:cubicBezTo>
                      <a:pt x="338" y="35"/>
                      <a:pt x="276" y="1"/>
                      <a:pt x="2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Google Shape;10138;p57">
                <a:extLst>
                  <a:ext uri="{FF2B5EF4-FFF2-40B4-BE49-F238E27FC236}">
                    <a16:creationId xmlns:a16="http://schemas.microsoft.com/office/drawing/2014/main" id="{FAD35447-FD44-4340-8486-6432F32C08CC}"/>
                  </a:ext>
                </a:extLst>
              </p:cNvPr>
              <p:cNvSpPr/>
              <p:nvPr/>
            </p:nvSpPr>
            <p:spPr>
              <a:xfrm>
                <a:off x="5791482" y="5899605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21" y="0"/>
                    </a:moveTo>
                    <a:cubicBezTo>
                      <a:pt x="187" y="0"/>
                      <a:pt x="152" y="10"/>
                      <a:pt x="119" y="30"/>
                    </a:cubicBezTo>
                    <a:cubicBezTo>
                      <a:pt x="24" y="78"/>
                      <a:pt x="0" y="197"/>
                      <a:pt x="60" y="292"/>
                    </a:cubicBezTo>
                    <a:lnTo>
                      <a:pt x="358" y="792"/>
                    </a:lnTo>
                    <a:cubicBezTo>
                      <a:pt x="393" y="851"/>
                      <a:pt x="453" y="887"/>
                      <a:pt x="524" y="887"/>
                    </a:cubicBezTo>
                    <a:cubicBezTo>
                      <a:pt x="548" y="887"/>
                      <a:pt x="584" y="863"/>
                      <a:pt x="608" y="851"/>
                    </a:cubicBezTo>
                    <a:cubicBezTo>
                      <a:pt x="691" y="792"/>
                      <a:pt x="715" y="673"/>
                      <a:pt x="667" y="601"/>
                    </a:cubicBezTo>
                    <a:lnTo>
                      <a:pt x="369" y="89"/>
                    </a:lnTo>
                    <a:cubicBezTo>
                      <a:pt x="346" y="35"/>
                      <a:pt x="286" y="0"/>
                      <a:pt x="2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Google Shape;10139;p57">
                <a:extLst>
                  <a:ext uri="{FF2B5EF4-FFF2-40B4-BE49-F238E27FC236}">
                    <a16:creationId xmlns:a16="http://schemas.microsoft.com/office/drawing/2014/main" id="{D00CCF70-B3B0-4872-8AE7-BCB776311F07}"/>
                  </a:ext>
                </a:extLst>
              </p:cNvPr>
              <p:cNvSpPr/>
              <p:nvPr/>
            </p:nvSpPr>
            <p:spPr>
              <a:xfrm>
                <a:off x="5859501" y="5831947"/>
                <a:ext cx="42172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30" h="665" extrusionOk="0">
                    <a:moveTo>
                      <a:pt x="215" y="0"/>
                    </a:moveTo>
                    <a:cubicBezTo>
                      <a:pt x="152" y="0"/>
                      <a:pt x="89" y="32"/>
                      <a:pt x="48" y="81"/>
                    </a:cubicBezTo>
                    <a:cubicBezTo>
                      <a:pt x="1" y="177"/>
                      <a:pt x="36" y="272"/>
                      <a:pt x="108" y="331"/>
                    </a:cubicBezTo>
                    <a:lnTo>
                      <a:pt x="608" y="629"/>
                    </a:lnTo>
                    <a:cubicBezTo>
                      <a:pt x="643" y="653"/>
                      <a:pt x="667" y="665"/>
                      <a:pt x="703" y="665"/>
                    </a:cubicBezTo>
                    <a:cubicBezTo>
                      <a:pt x="763" y="665"/>
                      <a:pt x="822" y="629"/>
                      <a:pt x="870" y="569"/>
                    </a:cubicBezTo>
                    <a:cubicBezTo>
                      <a:pt x="929" y="486"/>
                      <a:pt x="893" y="367"/>
                      <a:pt x="810" y="319"/>
                    </a:cubicBezTo>
                    <a:lnTo>
                      <a:pt x="298" y="22"/>
                    </a:lnTo>
                    <a:cubicBezTo>
                      <a:pt x="272" y="7"/>
                      <a:pt x="244" y="0"/>
                      <a:pt x="2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Google Shape;10140;p57">
                <a:extLst>
                  <a:ext uri="{FF2B5EF4-FFF2-40B4-BE49-F238E27FC236}">
                    <a16:creationId xmlns:a16="http://schemas.microsoft.com/office/drawing/2014/main" id="{D587F7EF-1291-43E3-86D6-D2361BCB7760}"/>
                  </a:ext>
                </a:extLst>
              </p:cNvPr>
              <p:cNvSpPr/>
              <p:nvPr/>
            </p:nvSpPr>
            <p:spPr>
              <a:xfrm>
                <a:off x="5516681" y="5634328"/>
                <a:ext cx="42126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65" extrusionOk="0">
                    <a:moveTo>
                      <a:pt x="214" y="0"/>
                    </a:moveTo>
                    <a:cubicBezTo>
                      <a:pt x="152" y="0"/>
                      <a:pt x="89" y="33"/>
                      <a:pt x="48" y="82"/>
                    </a:cubicBezTo>
                    <a:cubicBezTo>
                      <a:pt x="0" y="165"/>
                      <a:pt x="36" y="272"/>
                      <a:pt x="107" y="332"/>
                    </a:cubicBezTo>
                    <a:lnTo>
                      <a:pt x="619" y="629"/>
                    </a:lnTo>
                    <a:cubicBezTo>
                      <a:pt x="643" y="641"/>
                      <a:pt x="667" y="665"/>
                      <a:pt x="703" y="665"/>
                    </a:cubicBezTo>
                    <a:cubicBezTo>
                      <a:pt x="762" y="665"/>
                      <a:pt x="822" y="629"/>
                      <a:pt x="869" y="570"/>
                    </a:cubicBezTo>
                    <a:cubicBezTo>
                      <a:pt x="929" y="463"/>
                      <a:pt x="893" y="367"/>
                      <a:pt x="810" y="320"/>
                    </a:cubicBezTo>
                    <a:lnTo>
                      <a:pt x="298" y="22"/>
                    </a:lnTo>
                    <a:cubicBezTo>
                      <a:pt x="272" y="7"/>
                      <a:pt x="243" y="0"/>
                      <a:pt x="21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Google Shape;10141;p57">
                <a:extLst>
                  <a:ext uri="{FF2B5EF4-FFF2-40B4-BE49-F238E27FC236}">
                    <a16:creationId xmlns:a16="http://schemas.microsoft.com/office/drawing/2014/main" id="{3EF12144-EF78-40C8-8111-9AFDA0E97BBC}"/>
                  </a:ext>
                </a:extLst>
              </p:cNvPr>
              <p:cNvSpPr/>
              <p:nvPr/>
            </p:nvSpPr>
            <p:spPr>
              <a:xfrm>
                <a:off x="5858957" y="5634509"/>
                <a:ext cx="4271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73" extrusionOk="0">
                    <a:moveTo>
                      <a:pt x="725" y="0"/>
                    </a:moveTo>
                    <a:cubicBezTo>
                      <a:pt x="693" y="0"/>
                      <a:pt x="660" y="10"/>
                      <a:pt x="632" y="30"/>
                    </a:cubicBezTo>
                    <a:lnTo>
                      <a:pt x="120" y="328"/>
                    </a:lnTo>
                    <a:cubicBezTo>
                      <a:pt x="36" y="375"/>
                      <a:pt x="1" y="494"/>
                      <a:pt x="60" y="578"/>
                    </a:cubicBezTo>
                    <a:cubicBezTo>
                      <a:pt x="96" y="637"/>
                      <a:pt x="155" y="673"/>
                      <a:pt x="227" y="673"/>
                    </a:cubicBezTo>
                    <a:cubicBezTo>
                      <a:pt x="251" y="673"/>
                      <a:pt x="286" y="661"/>
                      <a:pt x="310" y="637"/>
                    </a:cubicBezTo>
                    <a:lnTo>
                      <a:pt x="822" y="340"/>
                    </a:lnTo>
                    <a:cubicBezTo>
                      <a:pt x="905" y="280"/>
                      <a:pt x="941" y="161"/>
                      <a:pt x="882" y="89"/>
                    </a:cubicBezTo>
                    <a:cubicBezTo>
                      <a:pt x="850" y="35"/>
                      <a:pt x="788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Google Shape;10142;p57">
                <a:extLst>
                  <a:ext uri="{FF2B5EF4-FFF2-40B4-BE49-F238E27FC236}">
                    <a16:creationId xmlns:a16="http://schemas.microsoft.com/office/drawing/2014/main" id="{DC552FB1-8FC2-492C-90E8-49713B4B5F00}"/>
                  </a:ext>
                </a:extLst>
              </p:cNvPr>
              <p:cNvSpPr/>
              <p:nvPr/>
            </p:nvSpPr>
            <p:spPr>
              <a:xfrm>
                <a:off x="5516681" y="5832129"/>
                <a:ext cx="4212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73" extrusionOk="0">
                    <a:moveTo>
                      <a:pt x="725" y="0"/>
                    </a:moveTo>
                    <a:cubicBezTo>
                      <a:pt x="692" y="0"/>
                      <a:pt x="660" y="9"/>
                      <a:pt x="631" y="30"/>
                    </a:cubicBezTo>
                    <a:lnTo>
                      <a:pt x="119" y="327"/>
                    </a:lnTo>
                    <a:cubicBezTo>
                      <a:pt x="36" y="375"/>
                      <a:pt x="0" y="494"/>
                      <a:pt x="60" y="589"/>
                    </a:cubicBezTo>
                    <a:cubicBezTo>
                      <a:pt x="95" y="649"/>
                      <a:pt x="155" y="673"/>
                      <a:pt x="226" y="673"/>
                    </a:cubicBezTo>
                    <a:cubicBezTo>
                      <a:pt x="262" y="673"/>
                      <a:pt x="286" y="661"/>
                      <a:pt x="322" y="649"/>
                    </a:cubicBezTo>
                    <a:lnTo>
                      <a:pt x="822" y="351"/>
                    </a:lnTo>
                    <a:cubicBezTo>
                      <a:pt x="893" y="292"/>
                      <a:pt x="929" y="173"/>
                      <a:pt x="881" y="89"/>
                    </a:cubicBezTo>
                    <a:cubicBezTo>
                      <a:pt x="850" y="34"/>
                      <a:pt x="787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56926-0B32-C96F-95E6-E5EC709C5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040D3014-D45B-459F-B85C-6B315DF74C1E}"/>
              </a:ext>
            </a:extLst>
          </p:cNvPr>
          <p:cNvGrpSpPr/>
          <p:nvPr/>
        </p:nvGrpSpPr>
        <p:grpSpPr>
          <a:xfrm>
            <a:off x="10931492" y="2124484"/>
            <a:ext cx="289650" cy="257508"/>
            <a:chOff x="10931492" y="2340619"/>
            <a:chExt cx="289650" cy="257508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D8A90D8-D359-407C-8AD5-01004EACF547}"/>
                </a:ext>
              </a:extLst>
            </p:cNvPr>
            <p:cNvSpPr>
              <a:spLocks/>
            </p:cNvSpPr>
            <p:nvPr/>
          </p:nvSpPr>
          <p:spPr>
            <a:xfrm>
              <a:off x="10931492" y="2340619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94" name="Target Graphic 45 (2)">
              <a:extLst>
                <a:ext uri="{FF2B5EF4-FFF2-40B4-BE49-F238E27FC236}">
                  <a16:creationId xmlns:a16="http://schemas.microsoft.com/office/drawing/2014/main" id="{F92DA7FB-42E1-4010-974C-56B5588A6E0B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0988222" y="2381277"/>
              <a:ext cx="176191" cy="176191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72290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ct 111" hidden="1">
            <a:extLst>
              <a:ext uri="{FF2B5EF4-FFF2-40B4-BE49-F238E27FC236}">
                <a16:creationId xmlns:a16="http://schemas.microsoft.com/office/drawing/2014/main" id="{42D6783D-FC86-46BB-81A7-105524F92A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4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12" name="Object 111" hidden="1">
                        <a:extLst>
                          <a:ext uri="{FF2B5EF4-FFF2-40B4-BE49-F238E27FC236}">
                            <a16:creationId xmlns:a16="http://schemas.microsoft.com/office/drawing/2014/main" id="{42D6783D-FC86-46BB-81A7-105524F92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1A0829C3-C86B-4668-B867-780EE863AFE1}"/>
              </a:ext>
            </a:extLst>
          </p:cNvPr>
          <p:cNvGrpSpPr/>
          <p:nvPr/>
        </p:nvGrpSpPr>
        <p:grpSpPr>
          <a:xfrm>
            <a:off x="4439998" y="2080678"/>
            <a:ext cx="3312000" cy="1892805"/>
            <a:chOff x="617534" y="1614487"/>
            <a:chExt cx="6012001" cy="2067642"/>
          </a:xfrm>
        </p:grpSpPr>
        <p:sp>
          <p:nvSpPr>
            <p:cNvPr id="57" name="TextBox 4">
              <a:extLst>
                <a:ext uri="{FF2B5EF4-FFF2-40B4-BE49-F238E27FC236}">
                  <a16:creationId xmlns:a16="http://schemas.microsoft.com/office/drawing/2014/main" id="{C9D8BE34-6061-4A8F-921F-8E4D9B54A5B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614487"/>
              <a:ext cx="6012001" cy="206764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ut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rove accessibility of channels into the Commission and develop channel strategy, through:</a:t>
              </a:r>
            </a:p>
            <a:p>
              <a:pPr marL="449705" marR="0" lvl="1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5F2E74"/>
                </a:buClr>
                <a:buSzTx/>
                <a:buFont typeface="Calibri" panose="020F0502020204030204" pitchFamily="34" charset="0"/>
                <a:buChar char="‒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Understanding accessibility requirements</a:t>
              </a:r>
            </a:p>
            <a:p>
              <a:pPr marL="449705" marR="0" lvl="1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5F2E74"/>
                </a:buClr>
                <a:buSzTx/>
                <a:buFont typeface="Calibri" panose="020F0502020204030204" pitchFamily="34" charset="0"/>
                <a:buChar char="‒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Designing channel strategy</a:t>
              </a:r>
            </a:p>
            <a:p>
              <a:pPr marL="449705" marR="0" lvl="1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5F2E74"/>
                </a:buClr>
                <a:buSzTx/>
                <a:buFont typeface="Calibri" panose="020F0502020204030204" pitchFamily="34" charset="0"/>
                <a:buChar char="‒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Testing and deploying solutions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lement</a:t>
              </a:r>
              <a:r>
                <a:rPr kumimoji="0" lang="en-GB" sz="10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 a suite of accessible tools for staff use and purchase/design with accessibility in mind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8177ED5-EAC0-43B3-BC37-E6676370150C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20DA3D-41AD-4F62-8E35-700CCD1C4C13}"/>
              </a:ext>
            </a:extLst>
          </p:cNvPr>
          <p:cNvGrpSpPr/>
          <p:nvPr/>
        </p:nvGrpSpPr>
        <p:grpSpPr>
          <a:xfrm>
            <a:off x="982663" y="2058976"/>
            <a:ext cx="3312000" cy="1914508"/>
            <a:chOff x="617534" y="1262372"/>
            <a:chExt cx="6012001" cy="2204510"/>
          </a:xfrm>
        </p:grpSpPr>
        <p:sp>
          <p:nvSpPr>
            <p:cNvPr id="70" name="TextBox 4">
              <a:extLst>
                <a:ext uri="{FF2B5EF4-FFF2-40B4-BE49-F238E27FC236}">
                  <a16:creationId xmlns:a16="http://schemas.microsoft.com/office/drawing/2014/main" id="{DABC1CF3-528E-4771-BEF1-6B07AE476073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288703"/>
              <a:ext cx="6012001" cy="21781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blem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Accessibility and inclusion is a key value of the Commiss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Level of accessibility of the Commission for participants is unclear, and more channels of communication could be used e.g., mobile app, text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lang="en-GB" sz="1000" dirty="0">
                  <a:solidFill>
                    <a:prstClr val="black"/>
                  </a:solidFill>
                  <a:latin typeface="Calibri" panose="020F0502020204030204"/>
                  <a:cs typeface="Calibri"/>
                </a:rPr>
                <a:t>Little focus on accessibility for staff systems</a:t>
              </a: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endParaRP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D838BA-A124-460C-B48C-282BEA6CE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6" y="1262372"/>
              <a:ext cx="6011999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613E042-6CFD-40D8-96D1-8C0C76A4874E}"/>
              </a:ext>
            </a:extLst>
          </p:cNvPr>
          <p:cNvSpPr txBox="1">
            <a:spLocks/>
          </p:cNvSpPr>
          <p:nvPr/>
        </p:nvSpPr>
        <p:spPr>
          <a:xfrm>
            <a:off x="11718924" y="6658264"/>
            <a:ext cx="492551" cy="3521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I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A3798C-DB7A-4257-BDE6-DD298EB65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4. Accessibility</a:t>
            </a:r>
          </a:p>
        </p:txBody>
      </p:sp>
      <p:sp>
        <p:nvSpPr>
          <p:cNvPr id="54" name="Rectangle 10">
            <a:extLst>
              <a:ext uri="{FF2B5EF4-FFF2-40B4-BE49-F238E27FC236}">
                <a16:creationId xmlns:a16="http://schemas.microsoft.com/office/drawing/2014/main" id="{374652A6-5705-4BB8-9ADD-09696A31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2" y="1562826"/>
            <a:ext cx="1023445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tream overview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E251498-FF77-4F75-A773-4442B414B349}"/>
              </a:ext>
            </a:extLst>
          </p:cNvPr>
          <p:cNvGrpSpPr/>
          <p:nvPr/>
        </p:nvGrpSpPr>
        <p:grpSpPr>
          <a:xfrm>
            <a:off x="982662" y="4073238"/>
            <a:ext cx="6769337" cy="1526684"/>
            <a:chOff x="7908293" y="2332107"/>
            <a:chExt cx="3312000" cy="1443139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6B59AEF-8C95-429D-95D2-445CBD85E983}"/>
                </a:ext>
              </a:extLst>
            </p:cNvPr>
            <p:cNvGrpSpPr/>
            <p:nvPr/>
          </p:nvGrpSpPr>
          <p:grpSpPr>
            <a:xfrm>
              <a:off x="7908293" y="2332107"/>
              <a:ext cx="3312000" cy="1443139"/>
              <a:chOff x="603685" y="1651116"/>
              <a:chExt cx="6012001" cy="1856883"/>
            </a:xfrm>
          </p:grpSpPr>
          <p:sp>
            <p:nvSpPr>
              <p:cNvPr id="96" name="TextBox 4">
                <a:extLst>
                  <a:ext uri="{FF2B5EF4-FFF2-40B4-BE49-F238E27FC236}">
                    <a16:creationId xmlns:a16="http://schemas.microsoft.com/office/drawing/2014/main" id="{F9E38435-8F28-4C3A-B13E-1E37E00C2D02}"/>
                  </a:ext>
                </a:extLst>
              </p:cNvPr>
              <p:cNvSpPr txBox="1">
                <a:spLocks noChangeArrowheads="1"/>
              </p:cNvSpPr>
              <p:nvPr userDrawn="1"/>
            </p:nvSpPr>
            <p:spPr bwMode="auto">
              <a:xfrm>
                <a:off x="603685" y="1655603"/>
                <a:ext cx="6012001" cy="185239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144000" tIns="108000" rIns="216000" bIns="14400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270000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•"/>
                  <a:tabLst>
                    <a:tab pos="270000" algn="l"/>
                  </a:tabLst>
                  <a:defRPr sz="1400" kern="0"/>
                </a:lvl1pPr>
                <a:lvl2pPr marL="540000" lvl="1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Font typeface="Calibri" panose="020F0502020204030204" pitchFamily="34" charset="0"/>
                  <a:buChar char="‒"/>
                  <a:tabLst>
                    <a:tab pos="270000" algn="l"/>
                  </a:tabLst>
                  <a:defRPr sz="1400" kern="0"/>
                </a:lvl2pPr>
                <a:lvl3pPr marL="810000" lvl="2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Courier New" panose="02070309020205020404" pitchFamily="49" charset="0"/>
                  <a:buChar char="o"/>
                  <a:tabLst>
                    <a:tab pos="270000" algn="l"/>
                  </a:tabLst>
                  <a:defRPr sz="1400" kern="0"/>
                </a:lvl3pPr>
                <a:lvl4pPr marL="1080000" lvl="3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Wingdings" panose="05000000000000000000" pitchFamily="2" charset="2"/>
                  <a:buChar char="§"/>
                  <a:tabLst>
                    <a:tab pos="270000" algn="l"/>
                  </a:tabLst>
                  <a:defRPr sz="1400" kern="0"/>
                </a:lvl4pPr>
                <a:lvl5pPr marL="810000" indent="0" defTabSz="89535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rgbClr val="18345E"/>
                  </a:buClr>
                  <a:buFont typeface="Wingdings" panose="05000000000000000000" pitchFamily="2" charset="2"/>
                  <a:buNone/>
                  <a:defRPr sz="1400" baseline="0"/>
                </a:lvl5pPr>
                <a:lvl6pPr marL="2152650" indent="-361950" fontAlgn="base">
                  <a:spcBef>
                    <a:spcPct val="20000"/>
                  </a:spcBef>
                  <a:spcAft>
                    <a:spcPct val="0"/>
                  </a:spcAft>
                  <a:buFont typeface="Calibri" pitchFamily="34" charset="0"/>
                  <a:buChar char="­"/>
                  <a:defRPr sz="1400"/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9pPr>
              </a:lstStyle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utcomes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Participants: 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Improved experience with Commission, lower risk of missed information due to improved channel management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Commission staff: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 Seamless interactions with participants</a:t>
                </a: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16C8DB7-CFE4-433F-B545-0905644562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685" y="1651116"/>
                <a:ext cx="6012001" cy="0"/>
              </a:xfrm>
              <a:prstGeom prst="line">
                <a:avLst/>
              </a:prstGeom>
              <a:ln w="254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BF8EF5F5-6DE7-402E-A412-E8C53B79EA2B}"/>
                </a:ext>
              </a:extLst>
            </p:cNvPr>
            <p:cNvGrpSpPr/>
            <p:nvPr/>
          </p:nvGrpSpPr>
          <p:grpSpPr>
            <a:xfrm>
              <a:off x="10927466" y="2334500"/>
              <a:ext cx="289650" cy="257508"/>
              <a:chOff x="10962167" y="2469373"/>
              <a:chExt cx="289650" cy="257508"/>
            </a:xfrm>
          </p:grpSpPr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6F9ACC9C-32A1-4663-B108-708FC57FAC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962167" y="2469373"/>
                <a:ext cx="289650" cy="25750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29" name="Handshake Google Shape;13584;p63">
                <a:extLst>
                  <a:ext uri="{FF2B5EF4-FFF2-40B4-BE49-F238E27FC236}">
                    <a16:creationId xmlns:a16="http://schemas.microsoft.com/office/drawing/2014/main" id="{6E6DB1FC-A402-4D01-A5B2-164830AB076A}"/>
                  </a:ext>
                </a:extLst>
              </p:cNvPr>
              <p:cNvGrpSpPr>
                <a:grpSpLocks/>
              </p:cNvGrpSpPr>
              <p:nvPr>
                <p:custDataLst>
                  <p:tags r:id="rId6"/>
                </p:custDataLst>
              </p:nvPr>
            </p:nvGrpSpPr>
            <p:grpSpPr>
              <a:xfrm>
                <a:off x="11022155" y="2511138"/>
                <a:ext cx="180696" cy="153068"/>
                <a:chOff x="3693404" y="2679504"/>
                <a:chExt cx="436113" cy="369433"/>
              </a:xfrm>
              <a:solidFill>
                <a:srgbClr val="FFFFFF"/>
              </a:solidFill>
            </p:grpSpPr>
            <p:sp>
              <p:nvSpPr>
                <p:cNvPr id="131" name="Google Shape;13585;p63">
                  <a:extLst>
                    <a:ext uri="{FF2B5EF4-FFF2-40B4-BE49-F238E27FC236}">
                      <a16:creationId xmlns:a16="http://schemas.microsoft.com/office/drawing/2014/main" id="{A9F8ACED-8273-4187-9CB8-C33AEBB8DA10}"/>
                    </a:ext>
                  </a:extLst>
                </p:cNvPr>
                <p:cNvSpPr/>
                <p:nvPr/>
              </p:nvSpPr>
              <p:spPr>
                <a:xfrm>
                  <a:off x="3693404" y="2698045"/>
                  <a:ext cx="436113" cy="3508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6" h="8268" extrusionOk="0">
                      <a:moveTo>
                        <a:pt x="6251" y="2267"/>
                      </a:moveTo>
                      <a:lnTo>
                        <a:pt x="7061" y="2541"/>
                      </a:lnTo>
                      <a:cubicBezTo>
                        <a:pt x="7073" y="2544"/>
                        <a:pt x="7086" y="2545"/>
                        <a:pt x="7098" y="2545"/>
                      </a:cubicBezTo>
                      <a:cubicBezTo>
                        <a:pt x="7136" y="2545"/>
                        <a:pt x="7174" y="2532"/>
                        <a:pt x="7192" y="2505"/>
                      </a:cubicBezTo>
                      <a:lnTo>
                        <a:pt x="7454" y="2314"/>
                      </a:lnTo>
                      <a:lnTo>
                        <a:pt x="9240" y="4660"/>
                      </a:lnTo>
                      <a:lnTo>
                        <a:pt x="8978" y="4874"/>
                      </a:lnTo>
                      <a:cubicBezTo>
                        <a:pt x="8966" y="4862"/>
                        <a:pt x="8942" y="4839"/>
                        <a:pt x="8930" y="4839"/>
                      </a:cubicBezTo>
                      <a:lnTo>
                        <a:pt x="5811" y="3148"/>
                      </a:lnTo>
                      <a:lnTo>
                        <a:pt x="5930" y="2969"/>
                      </a:lnTo>
                      <a:cubicBezTo>
                        <a:pt x="5978" y="2898"/>
                        <a:pt x="5966" y="2803"/>
                        <a:pt x="5894" y="2755"/>
                      </a:cubicBezTo>
                      <a:cubicBezTo>
                        <a:pt x="5864" y="2742"/>
                        <a:pt x="5834" y="2735"/>
                        <a:pt x="5806" y="2735"/>
                      </a:cubicBezTo>
                      <a:cubicBezTo>
                        <a:pt x="5756" y="2735"/>
                        <a:pt x="5710" y="2757"/>
                        <a:pt x="5680" y="2803"/>
                      </a:cubicBezTo>
                      <a:lnTo>
                        <a:pt x="5358" y="3326"/>
                      </a:lnTo>
                      <a:cubicBezTo>
                        <a:pt x="5335" y="3350"/>
                        <a:pt x="5323" y="3374"/>
                        <a:pt x="5323" y="3398"/>
                      </a:cubicBezTo>
                      <a:lnTo>
                        <a:pt x="5323" y="4684"/>
                      </a:lnTo>
                      <a:cubicBezTo>
                        <a:pt x="5323" y="4946"/>
                        <a:pt x="5097" y="5172"/>
                        <a:pt x="4835" y="5172"/>
                      </a:cubicBezTo>
                      <a:cubicBezTo>
                        <a:pt x="4561" y="5172"/>
                        <a:pt x="4346" y="4946"/>
                        <a:pt x="4346" y="4684"/>
                      </a:cubicBezTo>
                      <a:lnTo>
                        <a:pt x="4346" y="3410"/>
                      </a:lnTo>
                      <a:lnTo>
                        <a:pt x="4620" y="2267"/>
                      </a:lnTo>
                      <a:close/>
                      <a:moveTo>
                        <a:pt x="2680" y="1767"/>
                      </a:moveTo>
                      <a:lnTo>
                        <a:pt x="2918" y="1898"/>
                      </a:lnTo>
                      <a:lnTo>
                        <a:pt x="941" y="5303"/>
                      </a:lnTo>
                      <a:lnTo>
                        <a:pt x="703" y="5172"/>
                      </a:lnTo>
                      <a:lnTo>
                        <a:pt x="2680" y="1767"/>
                      </a:lnTo>
                      <a:close/>
                      <a:moveTo>
                        <a:pt x="3180" y="4743"/>
                      </a:moveTo>
                      <a:cubicBezTo>
                        <a:pt x="3287" y="4743"/>
                        <a:pt x="3370" y="4779"/>
                        <a:pt x="3442" y="4874"/>
                      </a:cubicBezTo>
                      <a:cubicBezTo>
                        <a:pt x="3561" y="5017"/>
                        <a:pt x="3525" y="5231"/>
                        <a:pt x="3370" y="5339"/>
                      </a:cubicBezTo>
                      <a:lnTo>
                        <a:pt x="2322" y="6112"/>
                      </a:lnTo>
                      <a:cubicBezTo>
                        <a:pt x="2262" y="6150"/>
                        <a:pt x="2194" y="6169"/>
                        <a:pt x="2127" y="6169"/>
                      </a:cubicBezTo>
                      <a:cubicBezTo>
                        <a:pt x="2023" y="6169"/>
                        <a:pt x="1923" y="6123"/>
                        <a:pt x="1858" y="6029"/>
                      </a:cubicBezTo>
                      <a:cubicBezTo>
                        <a:pt x="1751" y="5886"/>
                        <a:pt x="1787" y="5672"/>
                        <a:pt x="1929" y="5565"/>
                      </a:cubicBezTo>
                      <a:lnTo>
                        <a:pt x="2989" y="4803"/>
                      </a:lnTo>
                      <a:cubicBezTo>
                        <a:pt x="3049" y="4755"/>
                        <a:pt x="3120" y="4743"/>
                        <a:pt x="3180" y="4743"/>
                      </a:cubicBezTo>
                      <a:close/>
                      <a:moveTo>
                        <a:pt x="3775" y="5493"/>
                      </a:moveTo>
                      <a:cubicBezTo>
                        <a:pt x="3870" y="5493"/>
                        <a:pt x="3954" y="5553"/>
                        <a:pt x="4013" y="5636"/>
                      </a:cubicBezTo>
                      <a:cubicBezTo>
                        <a:pt x="4132" y="5779"/>
                        <a:pt x="4085" y="5993"/>
                        <a:pt x="3942" y="6089"/>
                      </a:cubicBezTo>
                      <a:lnTo>
                        <a:pt x="3132" y="6708"/>
                      </a:lnTo>
                      <a:cubicBezTo>
                        <a:pt x="3076" y="6745"/>
                        <a:pt x="3013" y="6764"/>
                        <a:pt x="2949" y="6764"/>
                      </a:cubicBezTo>
                      <a:cubicBezTo>
                        <a:pt x="2851" y="6764"/>
                        <a:pt x="2752" y="6718"/>
                        <a:pt x="2680" y="6624"/>
                      </a:cubicBezTo>
                      <a:cubicBezTo>
                        <a:pt x="2572" y="6482"/>
                        <a:pt x="2596" y="6255"/>
                        <a:pt x="2751" y="6148"/>
                      </a:cubicBezTo>
                      <a:lnTo>
                        <a:pt x="3537" y="5589"/>
                      </a:lnTo>
                      <a:cubicBezTo>
                        <a:pt x="3573" y="5565"/>
                        <a:pt x="3596" y="5541"/>
                        <a:pt x="3620" y="5529"/>
                      </a:cubicBezTo>
                      <a:cubicBezTo>
                        <a:pt x="3668" y="5517"/>
                        <a:pt x="3715" y="5493"/>
                        <a:pt x="3775" y="5493"/>
                      </a:cubicBezTo>
                      <a:close/>
                      <a:moveTo>
                        <a:pt x="4359" y="6281"/>
                      </a:moveTo>
                      <a:cubicBezTo>
                        <a:pt x="4454" y="6281"/>
                        <a:pt x="4550" y="6321"/>
                        <a:pt x="4620" y="6398"/>
                      </a:cubicBezTo>
                      <a:cubicBezTo>
                        <a:pt x="4739" y="6553"/>
                        <a:pt x="4704" y="6755"/>
                        <a:pt x="4549" y="6863"/>
                      </a:cubicBezTo>
                      <a:lnTo>
                        <a:pt x="3954" y="7303"/>
                      </a:lnTo>
                      <a:cubicBezTo>
                        <a:pt x="3898" y="7331"/>
                        <a:pt x="3829" y="7358"/>
                        <a:pt x="3767" y="7358"/>
                      </a:cubicBezTo>
                      <a:cubicBezTo>
                        <a:pt x="3749" y="7358"/>
                        <a:pt x="3732" y="7356"/>
                        <a:pt x="3715" y="7351"/>
                      </a:cubicBezTo>
                      <a:cubicBezTo>
                        <a:pt x="3620" y="7339"/>
                        <a:pt x="3549" y="7303"/>
                        <a:pt x="3513" y="7220"/>
                      </a:cubicBezTo>
                      <a:cubicBezTo>
                        <a:pt x="3406" y="7077"/>
                        <a:pt x="3430" y="6863"/>
                        <a:pt x="3584" y="6755"/>
                      </a:cubicBezTo>
                      <a:lnTo>
                        <a:pt x="4144" y="6363"/>
                      </a:lnTo>
                      <a:lnTo>
                        <a:pt x="4168" y="6339"/>
                      </a:lnTo>
                      <a:cubicBezTo>
                        <a:pt x="4226" y="6300"/>
                        <a:pt x="4292" y="6281"/>
                        <a:pt x="4359" y="6281"/>
                      </a:cubicBezTo>
                      <a:close/>
                      <a:moveTo>
                        <a:pt x="2870" y="2553"/>
                      </a:moveTo>
                      <a:lnTo>
                        <a:pt x="3156" y="2707"/>
                      </a:lnTo>
                      <a:cubicBezTo>
                        <a:pt x="3173" y="2725"/>
                        <a:pt x="3197" y="2736"/>
                        <a:pt x="3218" y="2736"/>
                      </a:cubicBezTo>
                      <a:cubicBezTo>
                        <a:pt x="3226" y="2736"/>
                        <a:pt x="3233" y="2734"/>
                        <a:pt x="3239" y="2731"/>
                      </a:cubicBezTo>
                      <a:lnTo>
                        <a:pt x="3942" y="2636"/>
                      </a:lnTo>
                      <a:lnTo>
                        <a:pt x="4192" y="2743"/>
                      </a:lnTo>
                      <a:lnTo>
                        <a:pt x="4049" y="3338"/>
                      </a:lnTo>
                      <a:lnTo>
                        <a:pt x="4049" y="3362"/>
                      </a:lnTo>
                      <a:lnTo>
                        <a:pt x="4049" y="4648"/>
                      </a:lnTo>
                      <a:cubicBezTo>
                        <a:pt x="4049" y="5077"/>
                        <a:pt x="4406" y="5434"/>
                        <a:pt x="4835" y="5434"/>
                      </a:cubicBezTo>
                      <a:cubicBezTo>
                        <a:pt x="5263" y="5434"/>
                        <a:pt x="5620" y="5077"/>
                        <a:pt x="5620" y="4648"/>
                      </a:cubicBezTo>
                      <a:lnTo>
                        <a:pt x="5620" y="3410"/>
                      </a:lnTo>
                      <a:lnTo>
                        <a:pt x="5656" y="3362"/>
                      </a:lnTo>
                      <a:lnTo>
                        <a:pt x="8776" y="5065"/>
                      </a:lnTo>
                      <a:cubicBezTo>
                        <a:pt x="8942" y="5184"/>
                        <a:pt x="9002" y="5374"/>
                        <a:pt x="8907" y="5541"/>
                      </a:cubicBezTo>
                      <a:cubicBezTo>
                        <a:pt x="8850" y="5654"/>
                        <a:pt x="8745" y="5717"/>
                        <a:pt x="8631" y="5717"/>
                      </a:cubicBezTo>
                      <a:cubicBezTo>
                        <a:pt x="8576" y="5717"/>
                        <a:pt x="8520" y="5703"/>
                        <a:pt x="8466" y="5672"/>
                      </a:cubicBezTo>
                      <a:lnTo>
                        <a:pt x="6740" y="4743"/>
                      </a:lnTo>
                      <a:cubicBezTo>
                        <a:pt x="6711" y="4727"/>
                        <a:pt x="6682" y="4719"/>
                        <a:pt x="6655" y="4719"/>
                      </a:cubicBezTo>
                      <a:cubicBezTo>
                        <a:pt x="6603" y="4719"/>
                        <a:pt x="6557" y="4748"/>
                        <a:pt x="6525" y="4803"/>
                      </a:cubicBezTo>
                      <a:cubicBezTo>
                        <a:pt x="6490" y="4874"/>
                        <a:pt x="6513" y="4958"/>
                        <a:pt x="6585" y="5005"/>
                      </a:cubicBezTo>
                      <a:lnTo>
                        <a:pt x="8037" y="5791"/>
                      </a:lnTo>
                      <a:cubicBezTo>
                        <a:pt x="8192" y="5886"/>
                        <a:pt x="8252" y="6077"/>
                        <a:pt x="8168" y="6243"/>
                      </a:cubicBezTo>
                      <a:cubicBezTo>
                        <a:pt x="8104" y="6356"/>
                        <a:pt x="7996" y="6415"/>
                        <a:pt x="7881" y="6415"/>
                      </a:cubicBezTo>
                      <a:cubicBezTo>
                        <a:pt x="7826" y="6415"/>
                        <a:pt x="7770" y="6401"/>
                        <a:pt x="7716" y="6374"/>
                      </a:cubicBezTo>
                      <a:lnTo>
                        <a:pt x="6251" y="5565"/>
                      </a:lnTo>
                      <a:cubicBezTo>
                        <a:pt x="6226" y="5554"/>
                        <a:pt x="6200" y="5548"/>
                        <a:pt x="6175" y="5548"/>
                      </a:cubicBezTo>
                      <a:cubicBezTo>
                        <a:pt x="6120" y="5548"/>
                        <a:pt x="6070" y="5575"/>
                        <a:pt x="6037" y="5624"/>
                      </a:cubicBezTo>
                      <a:cubicBezTo>
                        <a:pt x="5990" y="5708"/>
                        <a:pt x="6025" y="5791"/>
                        <a:pt x="6097" y="5839"/>
                      </a:cubicBezTo>
                      <a:lnTo>
                        <a:pt x="7287" y="6493"/>
                      </a:lnTo>
                      <a:cubicBezTo>
                        <a:pt x="7454" y="6577"/>
                        <a:pt x="7514" y="6779"/>
                        <a:pt x="7418" y="6934"/>
                      </a:cubicBezTo>
                      <a:cubicBezTo>
                        <a:pt x="7360" y="7050"/>
                        <a:pt x="7250" y="7114"/>
                        <a:pt x="7132" y="7114"/>
                      </a:cubicBezTo>
                      <a:cubicBezTo>
                        <a:pt x="7081" y="7114"/>
                        <a:pt x="7028" y="7102"/>
                        <a:pt x="6978" y="7077"/>
                      </a:cubicBezTo>
                      <a:lnTo>
                        <a:pt x="5728" y="6386"/>
                      </a:lnTo>
                      <a:cubicBezTo>
                        <a:pt x="5705" y="6371"/>
                        <a:pt x="5680" y="6365"/>
                        <a:pt x="5655" y="6365"/>
                      </a:cubicBezTo>
                      <a:cubicBezTo>
                        <a:pt x="5601" y="6365"/>
                        <a:pt x="5546" y="6397"/>
                        <a:pt x="5513" y="6446"/>
                      </a:cubicBezTo>
                      <a:cubicBezTo>
                        <a:pt x="5478" y="6517"/>
                        <a:pt x="5501" y="6613"/>
                        <a:pt x="5573" y="6660"/>
                      </a:cubicBezTo>
                      <a:lnTo>
                        <a:pt x="6549" y="7172"/>
                      </a:lnTo>
                      <a:cubicBezTo>
                        <a:pt x="6704" y="7267"/>
                        <a:pt x="6763" y="7458"/>
                        <a:pt x="6680" y="7625"/>
                      </a:cubicBezTo>
                      <a:cubicBezTo>
                        <a:pt x="6616" y="7737"/>
                        <a:pt x="6508" y="7801"/>
                        <a:pt x="6393" y="7801"/>
                      </a:cubicBezTo>
                      <a:cubicBezTo>
                        <a:pt x="6338" y="7801"/>
                        <a:pt x="6282" y="7786"/>
                        <a:pt x="6228" y="7756"/>
                      </a:cubicBezTo>
                      <a:lnTo>
                        <a:pt x="5549" y="7386"/>
                      </a:lnTo>
                      <a:cubicBezTo>
                        <a:pt x="5549" y="7255"/>
                        <a:pt x="5501" y="7101"/>
                        <a:pt x="5406" y="6994"/>
                      </a:cubicBezTo>
                      <a:cubicBezTo>
                        <a:pt x="5299" y="6851"/>
                        <a:pt x="5132" y="6755"/>
                        <a:pt x="4954" y="6744"/>
                      </a:cubicBezTo>
                      <a:lnTo>
                        <a:pt x="4954" y="6696"/>
                      </a:lnTo>
                      <a:cubicBezTo>
                        <a:pt x="4977" y="6541"/>
                        <a:pt x="4930" y="6363"/>
                        <a:pt x="4835" y="6220"/>
                      </a:cubicBezTo>
                      <a:cubicBezTo>
                        <a:pt x="4716" y="6077"/>
                        <a:pt x="4549" y="5982"/>
                        <a:pt x="4370" y="5970"/>
                      </a:cubicBezTo>
                      <a:lnTo>
                        <a:pt x="4370" y="5922"/>
                      </a:lnTo>
                      <a:cubicBezTo>
                        <a:pt x="4406" y="5767"/>
                        <a:pt x="4358" y="5589"/>
                        <a:pt x="4251" y="5446"/>
                      </a:cubicBezTo>
                      <a:cubicBezTo>
                        <a:pt x="4132" y="5303"/>
                        <a:pt x="3965" y="5208"/>
                        <a:pt x="3787" y="5196"/>
                      </a:cubicBezTo>
                      <a:lnTo>
                        <a:pt x="3787" y="5148"/>
                      </a:lnTo>
                      <a:cubicBezTo>
                        <a:pt x="3823" y="4993"/>
                        <a:pt x="3775" y="4815"/>
                        <a:pt x="3668" y="4672"/>
                      </a:cubicBezTo>
                      <a:cubicBezTo>
                        <a:pt x="3547" y="4516"/>
                        <a:pt x="3359" y="4432"/>
                        <a:pt x="3172" y="4432"/>
                      </a:cubicBezTo>
                      <a:cubicBezTo>
                        <a:pt x="3044" y="4432"/>
                        <a:pt x="2917" y="4471"/>
                        <a:pt x="2811" y="4553"/>
                      </a:cubicBezTo>
                      <a:lnTo>
                        <a:pt x="1763" y="5315"/>
                      </a:lnTo>
                      <a:lnTo>
                        <a:pt x="1394" y="5112"/>
                      </a:lnTo>
                      <a:lnTo>
                        <a:pt x="2870" y="2553"/>
                      </a:lnTo>
                      <a:close/>
                      <a:moveTo>
                        <a:pt x="4936" y="7026"/>
                      </a:moveTo>
                      <a:cubicBezTo>
                        <a:pt x="5036" y="7026"/>
                        <a:pt x="5132" y="7070"/>
                        <a:pt x="5204" y="7148"/>
                      </a:cubicBezTo>
                      <a:cubicBezTo>
                        <a:pt x="5251" y="7244"/>
                        <a:pt x="5275" y="7315"/>
                        <a:pt x="5263" y="7398"/>
                      </a:cubicBezTo>
                      <a:cubicBezTo>
                        <a:pt x="5251" y="7494"/>
                        <a:pt x="5204" y="7565"/>
                        <a:pt x="5132" y="7625"/>
                      </a:cubicBezTo>
                      <a:lnTo>
                        <a:pt x="4787" y="7875"/>
                      </a:lnTo>
                      <a:cubicBezTo>
                        <a:pt x="4729" y="7918"/>
                        <a:pt x="4658" y="7940"/>
                        <a:pt x="4588" y="7940"/>
                      </a:cubicBezTo>
                      <a:cubicBezTo>
                        <a:pt x="4487" y="7940"/>
                        <a:pt x="4386" y="7895"/>
                        <a:pt x="4323" y="7803"/>
                      </a:cubicBezTo>
                      <a:cubicBezTo>
                        <a:pt x="4215" y="7660"/>
                        <a:pt x="4251" y="7446"/>
                        <a:pt x="4406" y="7339"/>
                      </a:cubicBezTo>
                      <a:lnTo>
                        <a:pt x="4727" y="7101"/>
                      </a:lnTo>
                      <a:lnTo>
                        <a:pt x="4739" y="7089"/>
                      </a:lnTo>
                      <a:cubicBezTo>
                        <a:pt x="4802" y="7046"/>
                        <a:pt x="4870" y="7026"/>
                        <a:pt x="4936" y="7026"/>
                      </a:cubicBezTo>
                      <a:close/>
                      <a:moveTo>
                        <a:pt x="180" y="0"/>
                      </a:moveTo>
                      <a:cubicBezTo>
                        <a:pt x="125" y="0"/>
                        <a:pt x="69" y="27"/>
                        <a:pt x="36" y="76"/>
                      </a:cubicBezTo>
                      <a:cubicBezTo>
                        <a:pt x="1" y="159"/>
                        <a:pt x="24" y="243"/>
                        <a:pt x="96" y="290"/>
                      </a:cubicBezTo>
                      <a:lnTo>
                        <a:pt x="2382" y="1600"/>
                      </a:lnTo>
                      <a:lnTo>
                        <a:pt x="405" y="5005"/>
                      </a:lnTo>
                      <a:lnTo>
                        <a:pt x="251" y="4922"/>
                      </a:lnTo>
                      <a:cubicBezTo>
                        <a:pt x="221" y="4905"/>
                        <a:pt x="192" y="4897"/>
                        <a:pt x="164" y="4897"/>
                      </a:cubicBezTo>
                      <a:cubicBezTo>
                        <a:pt x="113" y="4897"/>
                        <a:pt x="67" y="4923"/>
                        <a:pt x="36" y="4969"/>
                      </a:cubicBezTo>
                      <a:cubicBezTo>
                        <a:pt x="1" y="5053"/>
                        <a:pt x="24" y="5136"/>
                        <a:pt x="96" y="5184"/>
                      </a:cubicBezTo>
                      <a:lnTo>
                        <a:pt x="882" y="5648"/>
                      </a:lnTo>
                      <a:cubicBezTo>
                        <a:pt x="908" y="5663"/>
                        <a:pt x="934" y="5670"/>
                        <a:pt x="959" y="5670"/>
                      </a:cubicBezTo>
                      <a:cubicBezTo>
                        <a:pt x="1014" y="5670"/>
                        <a:pt x="1063" y="5638"/>
                        <a:pt x="1096" y="5589"/>
                      </a:cubicBezTo>
                      <a:lnTo>
                        <a:pt x="1215" y="5398"/>
                      </a:lnTo>
                      <a:lnTo>
                        <a:pt x="1537" y="5565"/>
                      </a:lnTo>
                      <a:cubicBezTo>
                        <a:pt x="1441" y="5779"/>
                        <a:pt x="1453" y="6029"/>
                        <a:pt x="1584" y="6220"/>
                      </a:cubicBezTo>
                      <a:cubicBezTo>
                        <a:pt x="1703" y="6386"/>
                        <a:pt x="1894" y="6482"/>
                        <a:pt x="2096" y="6482"/>
                      </a:cubicBezTo>
                      <a:cubicBezTo>
                        <a:pt x="2156" y="6482"/>
                        <a:pt x="2227" y="6458"/>
                        <a:pt x="2287" y="6446"/>
                      </a:cubicBezTo>
                      <a:cubicBezTo>
                        <a:pt x="2287" y="6577"/>
                        <a:pt x="2334" y="6720"/>
                        <a:pt x="2406" y="6815"/>
                      </a:cubicBezTo>
                      <a:cubicBezTo>
                        <a:pt x="2525" y="6982"/>
                        <a:pt x="2715" y="7077"/>
                        <a:pt x="2906" y="7077"/>
                      </a:cubicBezTo>
                      <a:cubicBezTo>
                        <a:pt x="2965" y="7077"/>
                        <a:pt x="3049" y="7053"/>
                        <a:pt x="3108" y="7041"/>
                      </a:cubicBezTo>
                      <a:cubicBezTo>
                        <a:pt x="3108" y="7160"/>
                        <a:pt x="3144" y="7291"/>
                        <a:pt x="3227" y="7398"/>
                      </a:cubicBezTo>
                      <a:cubicBezTo>
                        <a:pt x="3323" y="7529"/>
                        <a:pt x="3465" y="7625"/>
                        <a:pt x="3644" y="7648"/>
                      </a:cubicBezTo>
                      <a:cubicBezTo>
                        <a:pt x="3668" y="7648"/>
                        <a:pt x="3715" y="7672"/>
                        <a:pt x="3739" y="7672"/>
                      </a:cubicBezTo>
                      <a:cubicBezTo>
                        <a:pt x="3799" y="7672"/>
                        <a:pt x="3882" y="7648"/>
                        <a:pt x="3942" y="7636"/>
                      </a:cubicBezTo>
                      <a:cubicBezTo>
                        <a:pt x="3942" y="7767"/>
                        <a:pt x="3977" y="7886"/>
                        <a:pt x="4061" y="7994"/>
                      </a:cubicBezTo>
                      <a:cubicBezTo>
                        <a:pt x="4156" y="8125"/>
                        <a:pt x="4299" y="8220"/>
                        <a:pt x="4477" y="8244"/>
                      </a:cubicBezTo>
                      <a:cubicBezTo>
                        <a:pt x="4501" y="8244"/>
                        <a:pt x="4549" y="8267"/>
                        <a:pt x="4573" y="8267"/>
                      </a:cubicBezTo>
                      <a:cubicBezTo>
                        <a:pt x="4716" y="8267"/>
                        <a:pt x="4835" y="8220"/>
                        <a:pt x="4954" y="8148"/>
                      </a:cubicBezTo>
                      <a:lnTo>
                        <a:pt x="5287" y="7886"/>
                      </a:lnTo>
                      <a:cubicBezTo>
                        <a:pt x="5370" y="7827"/>
                        <a:pt x="5430" y="7767"/>
                        <a:pt x="5466" y="7684"/>
                      </a:cubicBezTo>
                      <a:lnTo>
                        <a:pt x="6085" y="8029"/>
                      </a:lnTo>
                      <a:cubicBezTo>
                        <a:pt x="6168" y="8077"/>
                        <a:pt x="6275" y="8101"/>
                        <a:pt x="6382" y="8101"/>
                      </a:cubicBezTo>
                      <a:cubicBezTo>
                        <a:pt x="6442" y="8101"/>
                        <a:pt x="6501" y="8089"/>
                        <a:pt x="6561" y="8077"/>
                      </a:cubicBezTo>
                      <a:cubicBezTo>
                        <a:pt x="6716" y="8029"/>
                        <a:pt x="6859" y="7922"/>
                        <a:pt x="6930" y="7779"/>
                      </a:cubicBezTo>
                      <a:cubicBezTo>
                        <a:pt x="6990" y="7648"/>
                        <a:pt x="7013" y="7529"/>
                        <a:pt x="7002" y="7398"/>
                      </a:cubicBezTo>
                      <a:cubicBezTo>
                        <a:pt x="7049" y="7398"/>
                        <a:pt x="7073" y="7422"/>
                        <a:pt x="7121" y="7422"/>
                      </a:cubicBezTo>
                      <a:cubicBezTo>
                        <a:pt x="7347" y="7422"/>
                        <a:pt x="7573" y="7303"/>
                        <a:pt x="7668" y="7089"/>
                      </a:cubicBezTo>
                      <a:cubicBezTo>
                        <a:pt x="7728" y="6970"/>
                        <a:pt x="7764" y="6839"/>
                        <a:pt x="7752" y="6720"/>
                      </a:cubicBezTo>
                      <a:cubicBezTo>
                        <a:pt x="7787" y="6720"/>
                        <a:pt x="7823" y="6732"/>
                        <a:pt x="7871" y="6732"/>
                      </a:cubicBezTo>
                      <a:cubicBezTo>
                        <a:pt x="8085" y="6732"/>
                        <a:pt x="8311" y="6613"/>
                        <a:pt x="8418" y="6410"/>
                      </a:cubicBezTo>
                      <a:cubicBezTo>
                        <a:pt x="8478" y="6291"/>
                        <a:pt x="8502" y="6172"/>
                        <a:pt x="8490" y="6029"/>
                      </a:cubicBezTo>
                      <a:cubicBezTo>
                        <a:pt x="8537" y="6029"/>
                        <a:pt x="8561" y="6053"/>
                        <a:pt x="8609" y="6053"/>
                      </a:cubicBezTo>
                      <a:cubicBezTo>
                        <a:pt x="8668" y="6053"/>
                        <a:pt x="8728" y="6029"/>
                        <a:pt x="8787" y="6017"/>
                      </a:cubicBezTo>
                      <a:cubicBezTo>
                        <a:pt x="8954" y="5970"/>
                        <a:pt x="9085" y="5874"/>
                        <a:pt x="9157" y="5720"/>
                      </a:cubicBezTo>
                      <a:cubicBezTo>
                        <a:pt x="9240" y="5577"/>
                        <a:pt x="9264" y="5410"/>
                        <a:pt x="9204" y="5243"/>
                      </a:cubicBezTo>
                      <a:cubicBezTo>
                        <a:pt x="9192" y="5196"/>
                        <a:pt x="9180" y="5172"/>
                        <a:pt x="9157" y="5136"/>
                      </a:cubicBezTo>
                      <a:lnTo>
                        <a:pt x="9430" y="4946"/>
                      </a:lnTo>
                      <a:lnTo>
                        <a:pt x="9561" y="5124"/>
                      </a:lnTo>
                      <a:cubicBezTo>
                        <a:pt x="9591" y="5161"/>
                        <a:pt x="9644" y="5180"/>
                        <a:pt x="9694" y="5180"/>
                      </a:cubicBezTo>
                      <a:cubicBezTo>
                        <a:pt x="9724" y="5180"/>
                        <a:pt x="9753" y="5173"/>
                        <a:pt x="9776" y="5160"/>
                      </a:cubicBezTo>
                      <a:lnTo>
                        <a:pt x="10192" y="4827"/>
                      </a:lnTo>
                      <a:cubicBezTo>
                        <a:pt x="10264" y="4743"/>
                        <a:pt x="10276" y="4648"/>
                        <a:pt x="10240" y="4577"/>
                      </a:cubicBezTo>
                      <a:cubicBezTo>
                        <a:pt x="10210" y="4539"/>
                        <a:pt x="10157" y="4521"/>
                        <a:pt x="10107" y="4521"/>
                      </a:cubicBezTo>
                      <a:cubicBezTo>
                        <a:pt x="10077" y="4521"/>
                        <a:pt x="10048" y="4527"/>
                        <a:pt x="10026" y="4541"/>
                      </a:cubicBezTo>
                      <a:lnTo>
                        <a:pt x="9728" y="4779"/>
                      </a:lnTo>
                      <a:lnTo>
                        <a:pt x="7347" y="1671"/>
                      </a:lnTo>
                      <a:lnTo>
                        <a:pt x="8704" y="790"/>
                      </a:lnTo>
                      <a:cubicBezTo>
                        <a:pt x="8776" y="755"/>
                        <a:pt x="8787" y="659"/>
                        <a:pt x="8752" y="588"/>
                      </a:cubicBezTo>
                      <a:cubicBezTo>
                        <a:pt x="8721" y="542"/>
                        <a:pt x="8670" y="516"/>
                        <a:pt x="8619" y="516"/>
                      </a:cubicBezTo>
                      <a:cubicBezTo>
                        <a:pt x="8591" y="516"/>
                        <a:pt x="8563" y="523"/>
                        <a:pt x="8537" y="540"/>
                      </a:cubicBezTo>
                      <a:lnTo>
                        <a:pt x="7049" y="1493"/>
                      </a:lnTo>
                      <a:cubicBezTo>
                        <a:pt x="6978" y="1540"/>
                        <a:pt x="6966" y="1648"/>
                        <a:pt x="7002" y="1719"/>
                      </a:cubicBezTo>
                      <a:lnTo>
                        <a:pt x="7275" y="2076"/>
                      </a:lnTo>
                      <a:lnTo>
                        <a:pt x="7085" y="2219"/>
                      </a:lnTo>
                      <a:lnTo>
                        <a:pt x="6311" y="1969"/>
                      </a:lnTo>
                      <a:cubicBezTo>
                        <a:pt x="6287" y="1969"/>
                        <a:pt x="6275" y="1957"/>
                        <a:pt x="6263" y="1957"/>
                      </a:cubicBezTo>
                      <a:lnTo>
                        <a:pt x="4501" y="1957"/>
                      </a:lnTo>
                      <a:cubicBezTo>
                        <a:pt x="4430" y="1957"/>
                        <a:pt x="4370" y="2005"/>
                        <a:pt x="4358" y="2076"/>
                      </a:cubicBezTo>
                      <a:lnTo>
                        <a:pt x="4251" y="2481"/>
                      </a:lnTo>
                      <a:lnTo>
                        <a:pt x="4001" y="2374"/>
                      </a:lnTo>
                      <a:cubicBezTo>
                        <a:pt x="3965" y="2362"/>
                        <a:pt x="3954" y="2362"/>
                        <a:pt x="3930" y="2362"/>
                      </a:cubicBezTo>
                      <a:lnTo>
                        <a:pt x="3227" y="2433"/>
                      </a:lnTo>
                      <a:lnTo>
                        <a:pt x="2989" y="2302"/>
                      </a:lnTo>
                      <a:lnTo>
                        <a:pt x="3215" y="1910"/>
                      </a:lnTo>
                      <a:cubicBezTo>
                        <a:pt x="3251" y="1838"/>
                        <a:pt x="3227" y="1743"/>
                        <a:pt x="3156" y="1707"/>
                      </a:cubicBezTo>
                      <a:lnTo>
                        <a:pt x="251" y="16"/>
                      </a:lnTo>
                      <a:cubicBezTo>
                        <a:pt x="229" y="5"/>
                        <a:pt x="204" y="0"/>
                        <a:pt x="18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oogle Shape;13586;p63">
                  <a:extLst>
                    <a:ext uri="{FF2B5EF4-FFF2-40B4-BE49-F238E27FC236}">
                      <a16:creationId xmlns:a16="http://schemas.microsoft.com/office/drawing/2014/main" id="{62C0D0B3-8E77-43FC-913F-D38F912754AE}"/>
                    </a:ext>
                  </a:extLst>
                </p:cNvPr>
                <p:cNvSpPr/>
                <p:nvPr/>
              </p:nvSpPr>
              <p:spPr>
                <a:xfrm>
                  <a:off x="4079948" y="2679504"/>
                  <a:ext cx="49569" cy="359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8" h="847" extrusionOk="0">
                      <a:moveTo>
                        <a:pt x="999" y="0"/>
                      </a:moveTo>
                      <a:cubicBezTo>
                        <a:pt x="971" y="0"/>
                        <a:pt x="943" y="8"/>
                        <a:pt x="918" y="25"/>
                      </a:cubicBezTo>
                      <a:lnTo>
                        <a:pt x="84" y="561"/>
                      </a:lnTo>
                      <a:cubicBezTo>
                        <a:pt x="13" y="608"/>
                        <a:pt x="1" y="692"/>
                        <a:pt x="37" y="775"/>
                      </a:cubicBezTo>
                      <a:cubicBezTo>
                        <a:pt x="72" y="811"/>
                        <a:pt x="120" y="846"/>
                        <a:pt x="156" y="846"/>
                      </a:cubicBezTo>
                      <a:cubicBezTo>
                        <a:pt x="191" y="846"/>
                        <a:pt x="215" y="823"/>
                        <a:pt x="239" y="811"/>
                      </a:cubicBezTo>
                      <a:lnTo>
                        <a:pt x="1073" y="275"/>
                      </a:lnTo>
                      <a:cubicBezTo>
                        <a:pt x="1156" y="239"/>
                        <a:pt x="1168" y="144"/>
                        <a:pt x="1132" y="72"/>
                      </a:cubicBezTo>
                      <a:cubicBezTo>
                        <a:pt x="1101" y="26"/>
                        <a:pt x="1051" y="0"/>
                        <a:pt x="99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C99158F-28F3-4A46-A620-3DECF036A48F}"/>
              </a:ext>
            </a:extLst>
          </p:cNvPr>
          <p:cNvGrpSpPr/>
          <p:nvPr/>
        </p:nvGrpSpPr>
        <p:grpSpPr>
          <a:xfrm>
            <a:off x="4005013" y="2074611"/>
            <a:ext cx="289650" cy="257508"/>
            <a:chOff x="3843088" y="2151476"/>
            <a:chExt cx="403950" cy="36830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EFE3F3-77AA-4812-BD42-5076BD014317}"/>
                </a:ext>
              </a:extLst>
            </p:cNvPr>
            <p:cNvSpPr>
              <a:spLocks/>
            </p:cNvSpPr>
            <p:nvPr/>
          </p:nvSpPr>
          <p:spPr>
            <a:xfrm>
              <a:off x="3843088" y="2151476"/>
              <a:ext cx="403950" cy="3683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9902;p57">
              <a:extLst>
                <a:ext uri="{FF2B5EF4-FFF2-40B4-BE49-F238E27FC236}">
                  <a16:creationId xmlns:a16="http://schemas.microsoft.com/office/drawing/2014/main" id="{4E678130-718C-4CDF-A7B7-3F35363803C5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19085" y="2209674"/>
              <a:ext cx="252002" cy="252006"/>
              <a:chOff x="4126815" y="2760704"/>
              <a:chExt cx="380393" cy="363118"/>
            </a:xfrm>
            <a:solidFill>
              <a:schemeClr val="bg1"/>
            </a:solidFill>
          </p:grpSpPr>
          <p:sp>
            <p:nvSpPr>
              <p:cNvPr id="75" name="Google Shape;9903;p57">
                <a:extLst>
                  <a:ext uri="{FF2B5EF4-FFF2-40B4-BE49-F238E27FC236}">
                    <a16:creationId xmlns:a16="http://schemas.microsoft.com/office/drawing/2014/main" id="{547B6BAB-5CA4-464B-A05E-16C34AE4FDF0}"/>
                  </a:ext>
                </a:extLst>
              </p:cNvPr>
              <p:cNvSpPr/>
              <p:nvPr/>
            </p:nvSpPr>
            <p:spPr>
              <a:xfrm>
                <a:off x="4219825" y="2822435"/>
                <a:ext cx="103267" cy="29056"/>
              </a:xfrm>
              <a:custGeom>
                <a:avLst/>
                <a:gdLst/>
                <a:ahLst/>
                <a:cxnLst/>
                <a:rect l="l" t="t" r="r" b="b"/>
                <a:pathLst>
                  <a:path w="3252" h="915" extrusionOk="0">
                    <a:moveTo>
                      <a:pt x="1620" y="0"/>
                    </a:moveTo>
                    <a:cubicBezTo>
                      <a:pt x="1025" y="0"/>
                      <a:pt x="477" y="215"/>
                      <a:pt x="60" y="631"/>
                    </a:cubicBezTo>
                    <a:cubicBezTo>
                      <a:pt x="1" y="691"/>
                      <a:pt x="1" y="810"/>
                      <a:pt x="60" y="869"/>
                    </a:cubicBezTo>
                    <a:cubicBezTo>
                      <a:pt x="90" y="899"/>
                      <a:pt x="132" y="914"/>
                      <a:pt x="175" y="914"/>
                    </a:cubicBezTo>
                    <a:cubicBezTo>
                      <a:pt x="218" y="914"/>
                      <a:pt x="263" y="899"/>
                      <a:pt x="298" y="869"/>
                    </a:cubicBezTo>
                    <a:cubicBezTo>
                      <a:pt x="656" y="512"/>
                      <a:pt x="1120" y="322"/>
                      <a:pt x="1620" y="322"/>
                    </a:cubicBezTo>
                    <a:cubicBezTo>
                      <a:pt x="2132" y="322"/>
                      <a:pt x="2596" y="512"/>
                      <a:pt x="2953" y="869"/>
                    </a:cubicBezTo>
                    <a:cubicBezTo>
                      <a:pt x="2983" y="899"/>
                      <a:pt x="3028" y="914"/>
                      <a:pt x="3073" y="914"/>
                    </a:cubicBezTo>
                    <a:cubicBezTo>
                      <a:pt x="3117" y="914"/>
                      <a:pt x="3162" y="899"/>
                      <a:pt x="3192" y="869"/>
                    </a:cubicBezTo>
                    <a:cubicBezTo>
                      <a:pt x="3251" y="810"/>
                      <a:pt x="3251" y="691"/>
                      <a:pt x="3192" y="631"/>
                    </a:cubicBezTo>
                    <a:cubicBezTo>
                      <a:pt x="2775" y="215"/>
                      <a:pt x="2215" y="0"/>
                      <a:pt x="1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Google Shape;9904;p57">
                <a:extLst>
                  <a:ext uri="{FF2B5EF4-FFF2-40B4-BE49-F238E27FC236}">
                    <a16:creationId xmlns:a16="http://schemas.microsoft.com/office/drawing/2014/main" id="{CB7B676A-B4A1-4CC0-885C-B1414DA479E7}"/>
                  </a:ext>
                </a:extLst>
              </p:cNvPr>
              <p:cNvSpPr/>
              <p:nvPr/>
            </p:nvSpPr>
            <p:spPr>
              <a:xfrm>
                <a:off x="4126815" y="2760704"/>
                <a:ext cx="380393" cy="363118"/>
              </a:xfrm>
              <a:custGeom>
                <a:avLst/>
                <a:gdLst/>
                <a:ahLst/>
                <a:cxnLst/>
                <a:rect l="l" t="t" r="r" b="b"/>
                <a:pathLst>
                  <a:path w="11979" h="11435" extrusionOk="0">
                    <a:moveTo>
                      <a:pt x="7621" y="6921"/>
                    </a:moveTo>
                    <a:lnTo>
                      <a:pt x="8061" y="7373"/>
                    </a:lnTo>
                    <a:lnTo>
                      <a:pt x="7787" y="7659"/>
                    </a:lnTo>
                    <a:lnTo>
                      <a:pt x="7335" y="7207"/>
                    </a:lnTo>
                    <a:cubicBezTo>
                      <a:pt x="7442" y="7123"/>
                      <a:pt x="7526" y="7016"/>
                      <a:pt x="7621" y="6921"/>
                    </a:cubicBezTo>
                    <a:close/>
                    <a:moveTo>
                      <a:pt x="4552" y="328"/>
                    </a:moveTo>
                    <a:cubicBezTo>
                      <a:pt x="5525" y="328"/>
                      <a:pt x="6496" y="700"/>
                      <a:pt x="7228" y="1444"/>
                    </a:cubicBezTo>
                    <a:cubicBezTo>
                      <a:pt x="8645" y="2861"/>
                      <a:pt x="8704" y="5076"/>
                      <a:pt x="7466" y="6564"/>
                    </a:cubicBezTo>
                    <a:cubicBezTo>
                      <a:pt x="7311" y="6766"/>
                      <a:pt x="7156" y="6909"/>
                      <a:pt x="6978" y="7064"/>
                    </a:cubicBezTo>
                    <a:cubicBezTo>
                      <a:pt x="6279" y="7651"/>
                      <a:pt x="5417" y="7944"/>
                      <a:pt x="4554" y="7944"/>
                    </a:cubicBezTo>
                    <a:cubicBezTo>
                      <a:pt x="3579" y="7944"/>
                      <a:pt x="2603" y="7571"/>
                      <a:pt x="1858" y="6826"/>
                    </a:cubicBezTo>
                    <a:cubicBezTo>
                      <a:pt x="370" y="5338"/>
                      <a:pt x="370" y="2921"/>
                      <a:pt x="1858" y="1444"/>
                    </a:cubicBezTo>
                    <a:cubicBezTo>
                      <a:pt x="2602" y="700"/>
                      <a:pt x="3579" y="328"/>
                      <a:pt x="4552" y="328"/>
                    </a:cubicBezTo>
                    <a:close/>
                    <a:moveTo>
                      <a:pt x="8518" y="7440"/>
                    </a:moveTo>
                    <a:cubicBezTo>
                      <a:pt x="8550" y="7440"/>
                      <a:pt x="8580" y="7453"/>
                      <a:pt x="8597" y="7481"/>
                    </a:cubicBezTo>
                    <a:lnTo>
                      <a:pt x="9061" y="7897"/>
                    </a:lnTo>
                    <a:lnTo>
                      <a:pt x="8276" y="8683"/>
                    </a:lnTo>
                    <a:lnTo>
                      <a:pt x="7883" y="8195"/>
                    </a:lnTo>
                    <a:cubicBezTo>
                      <a:pt x="7847" y="8135"/>
                      <a:pt x="7847" y="8052"/>
                      <a:pt x="7883" y="8016"/>
                    </a:cubicBezTo>
                    <a:lnTo>
                      <a:pt x="8418" y="7481"/>
                    </a:lnTo>
                    <a:cubicBezTo>
                      <a:pt x="8444" y="7456"/>
                      <a:pt x="8482" y="7440"/>
                      <a:pt x="8518" y="7440"/>
                    </a:cubicBezTo>
                    <a:close/>
                    <a:moveTo>
                      <a:pt x="9335" y="8100"/>
                    </a:moveTo>
                    <a:lnTo>
                      <a:pt x="11252" y="9779"/>
                    </a:lnTo>
                    <a:cubicBezTo>
                      <a:pt x="11574" y="10064"/>
                      <a:pt x="11597" y="10576"/>
                      <a:pt x="11276" y="10886"/>
                    </a:cubicBezTo>
                    <a:cubicBezTo>
                      <a:pt x="11128" y="11033"/>
                      <a:pt x="10940" y="11105"/>
                      <a:pt x="10752" y="11105"/>
                    </a:cubicBezTo>
                    <a:cubicBezTo>
                      <a:pt x="10544" y="11105"/>
                      <a:pt x="10336" y="11018"/>
                      <a:pt x="10181" y="10850"/>
                    </a:cubicBezTo>
                    <a:lnTo>
                      <a:pt x="8514" y="8921"/>
                    </a:lnTo>
                    <a:lnTo>
                      <a:pt x="9335" y="8100"/>
                    </a:lnTo>
                    <a:close/>
                    <a:moveTo>
                      <a:pt x="4543" y="1"/>
                    </a:moveTo>
                    <a:cubicBezTo>
                      <a:pt x="3483" y="1"/>
                      <a:pt x="2424" y="402"/>
                      <a:pt x="1620" y="1206"/>
                    </a:cubicBezTo>
                    <a:cubicBezTo>
                      <a:pt x="1" y="2837"/>
                      <a:pt x="1" y="5457"/>
                      <a:pt x="1620" y="7064"/>
                    </a:cubicBezTo>
                    <a:cubicBezTo>
                      <a:pt x="2431" y="7875"/>
                      <a:pt x="3489" y="8272"/>
                      <a:pt x="4543" y="8272"/>
                    </a:cubicBezTo>
                    <a:cubicBezTo>
                      <a:pt x="5440" y="8272"/>
                      <a:pt x="6334" y="7985"/>
                      <a:pt x="7073" y="7421"/>
                    </a:cubicBezTo>
                    <a:lnTo>
                      <a:pt x="7561" y="7909"/>
                    </a:lnTo>
                    <a:cubicBezTo>
                      <a:pt x="7490" y="8076"/>
                      <a:pt x="7502" y="8278"/>
                      <a:pt x="7633" y="8409"/>
                    </a:cubicBezTo>
                    <a:lnTo>
                      <a:pt x="9954" y="11064"/>
                    </a:lnTo>
                    <a:cubicBezTo>
                      <a:pt x="10171" y="11312"/>
                      <a:pt x="10471" y="11434"/>
                      <a:pt x="10771" y="11434"/>
                    </a:cubicBezTo>
                    <a:cubicBezTo>
                      <a:pt x="11049" y="11434"/>
                      <a:pt x="11326" y="11330"/>
                      <a:pt x="11538" y="11124"/>
                    </a:cubicBezTo>
                    <a:cubicBezTo>
                      <a:pt x="11978" y="10671"/>
                      <a:pt x="11955" y="9945"/>
                      <a:pt x="11478" y="9540"/>
                    </a:cubicBezTo>
                    <a:lnTo>
                      <a:pt x="8823" y="7219"/>
                    </a:lnTo>
                    <a:cubicBezTo>
                      <a:pt x="8737" y="7139"/>
                      <a:pt x="8629" y="7104"/>
                      <a:pt x="8522" y="7104"/>
                    </a:cubicBezTo>
                    <a:cubicBezTo>
                      <a:pt x="8453" y="7104"/>
                      <a:pt x="8384" y="7119"/>
                      <a:pt x="8323" y="7147"/>
                    </a:cubicBezTo>
                    <a:lnTo>
                      <a:pt x="7823" y="6659"/>
                    </a:lnTo>
                    <a:cubicBezTo>
                      <a:pt x="9073" y="5052"/>
                      <a:pt x="8978" y="2694"/>
                      <a:pt x="7466" y="1206"/>
                    </a:cubicBezTo>
                    <a:cubicBezTo>
                      <a:pt x="6662" y="402"/>
                      <a:pt x="5603" y="1"/>
                      <a:pt x="45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Google Shape;9905;p57">
                <a:extLst>
                  <a:ext uri="{FF2B5EF4-FFF2-40B4-BE49-F238E27FC236}">
                    <a16:creationId xmlns:a16="http://schemas.microsoft.com/office/drawing/2014/main" id="{FB3FED87-D208-42E1-9BEC-5D720774ADEF}"/>
                  </a:ext>
                </a:extLst>
              </p:cNvPr>
              <p:cNvSpPr/>
              <p:nvPr/>
            </p:nvSpPr>
            <p:spPr>
              <a:xfrm>
                <a:off x="4278826" y="2791379"/>
                <a:ext cx="103998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275" h="6360" extrusionOk="0">
                    <a:moveTo>
                      <a:pt x="191" y="0"/>
                    </a:moveTo>
                    <a:cubicBezTo>
                      <a:pt x="106" y="0"/>
                      <a:pt x="35" y="59"/>
                      <a:pt x="24" y="157"/>
                    </a:cubicBezTo>
                    <a:cubicBezTo>
                      <a:pt x="0" y="264"/>
                      <a:pt x="60" y="335"/>
                      <a:pt x="167" y="347"/>
                    </a:cubicBezTo>
                    <a:cubicBezTo>
                      <a:pt x="798" y="442"/>
                      <a:pt x="1345" y="716"/>
                      <a:pt x="1786" y="1169"/>
                    </a:cubicBezTo>
                    <a:cubicBezTo>
                      <a:pt x="2905" y="2288"/>
                      <a:pt x="2905" y="4110"/>
                      <a:pt x="1786" y="5229"/>
                    </a:cubicBezTo>
                    <a:cubicBezTo>
                      <a:pt x="1345" y="5645"/>
                      <a:pt x="774" y="5931"/>
                      <a:pt x="167" y="6015"/>
                    </a:cubicBezTo>
                    <a:cubicBezTo>
                      <a:pt x="83" y="6038"/>
                      <a:pt x="24" y="6122"/>
                      <a:pt x="24" y="6217"/>
                    </a:cubicBezTo>
                    <a:cubicBezTo>
                      <a:pt x="36" y="6300"/>
                      <a:pt x="107" y="6360"/>
                      <a:pt x="179" y="6360"/>
                    </a:cubicBezTo>
                    <a:lnTo>
                      <a:pt x="214" y="6360"/>
                    </a:lnTo>
                    <a:cubicBezTo>
                      <a:pt x="917" y="6253"/>
                      <a:pt x="1536" y="5943"/>
                      <a:pt x="2024" y="5455"/>
                    </a:cubicBezTo>
                    <a:cubicBezTo>
                      <a:pt x="3274" y="4205"/>
                      <a:pt x="3274" y="2169"/>
                      <a:pt x="2024" y="919"/>
                    </a:cubicBezTo>
                    <a:cubicBezTo>
                      <a:pt x="1536" y="419"/>
                      <a:pt x="917" y="109"/>
                      <a:pt x="214" y="2"/>
                    </a:cubicBezTo>
                    <a:cubicBezTo>
                      <a:pt x="206" y="1"/>
                      <a:pt x="198" y="0"/>
                      <a:pt x="1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Google Shape;9906;p57">
                <a:extLst>
                  <a:ext uri="{FF2B5EF4-FFF2-40B4-BE49-F238E27FC236}">
                    <a16:creationId xmlns:a16="http://schemas.microsoft.com/office/drawing/2014/main" id="{B118434F-CF5B-4FB4-A093-1C2C1F276A15}"/>
                  </a:ext>
                </a:extLst>
              </p:cNvPr>
              <p:cNvSpPr/>
              <p:nvPr/>
            </p:nvSpPr>
            <p:spPr>
              <a:xfrm>
                <a:off x="4159332" y="2791379"/>
                <a:ext cx="105903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360" extrusionOk="0">
                    <a:moveTo>
                      <a:pt x="3162" y="1"/>
                    </a:moveTo>
                    <a:cubicBezTo>
                      <a:pt x="3156" y="1"/>
                      <a:pt x="3150" y="1"/>
                      <a:pt x="3144" y="2"/>
                    </a:cubicBezTo>
                    <a:cubicBezTo>
                      <a:pt x="2430" y="61"/>
                      <a:pt x="1775" y="383"/>
                      <a:pt x="1251" y="895"/>
                    </a:cubicBezTo>
                    <a:cubicBezTo>
                      <a:pt x="1" y="2145"/>
                      <a:pt x="1" y="4193"/>
                      <a:pt x="1251" y="5443"/>
                    </a:cubicBezTo>
                    <a:cubicBezTo>
                      <a:pt x="1775" y="5955"/>
                      <a:pt x="2430" y="6277"/>
                      <a:pt x="3144" y="6360"/>
                    </a:cubicBezTo>
                    <a:lnTo>
                      <a:pt x="3156" y="6360"/>
                    </a:lnTo>
                    <a:cubicBezTo>
                      <a:pt x="3251" y="6360"/>
                      <a:pt x="3311" y="6300"/>
                      <a:pt x="3323" y="6217"/>
                    </a:cubicBezTo>
                    <a:cubicBezTo>
                      <a:pt x="3334" y="6122"/>
                      <a:pt x="3263" y="6038"/>
                      <a:pt x="3168" y="6038"/>
                    </a:cubicBezTo>
                    <a:cubicBezTo>
                      <a:pt x="2537" y="5955"/>
                      <a:pt x="1941" y="5681"/>
                      <a:pt x="1477" y="5217"/>
                    </a:cubicBezTo>
                    <a:cubicBezTo>
                      <a:pt x="358" y="4098"/>
                      <a:pt x="358" y="2264"/>
                      <a:pt x="1477" y="1157"/>
                    </a:cubicBezTo>
                    <a:cubicBezTo>
                      <a:pt x="1941" y="692"/>
                      <a:pt x="2513" y="407"/>
                      <a:pt x="3168" y="335"/>
                    </a:cubicBezTo>
                    <a:cubicBezTo>
                      <a:pt x="3263" y="311"/>
                      <a:pt x="3334" y="240"/>
                      <a:pt x="3323" y="157"/>
                    </a:cubicBezTo>
                    <a:cubicBezTo>
                      <a:pt x="3312" y="68"/>
                      <a:pt x="3239" y="1"/>
                      <a:pt x="316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25AB410E-9F14-4018-BE4E-BE8D74F1ADCB}"/>
              </a:ext>
            </a:extLst>
          </p:cNvPr>
          <p:cNvGrpSpPr/>
          <p:nvPr/>
        </p:nvGrpSpPr>
        <p:grpSpPr>
          <a:xfrm>
            <a:off x="7905115" y="2058976"/>
            <a:ext cx="3312000" cy="3540946"/>
            <a:chOff x="603685" y="1651115"/>
            <a:chExt cx="6012002" cy="1856881"/>
          </a:xfrm>
        </p:grpSpPr>
        <p:sp>
          <p:nvSpPr>
            <p:cNvPr id="80" name="TextBox 4">
              <a:extLst>
                <a:ext uri="{FF2B5EF4-FFF2-40B4-BE49-F238E27FC236}">
                  <a16:creationId xmlns:a16="http://schemas.microsoft.com/office/drawing/2014/main" id="{B4198084-010D-43B5-90F8-2A23352817B2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03685" y="1655602"/>
              <a:ext cx="6012000" cy="18523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rget state components addressed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cessible front door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lti-channel interactions with the Commission</a:t>
              </a:r>
            </a:p>
            <a:p>
              <a:pPr marL="180000" marR="0" lvl="0" indent="-18000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fficient management of multiple channels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910D9B8-E925-4CCE-8FE4-A614126827F0}"/>
                </a:ext>
              </a:extLst>
            </p:cNvPr>
            <p:cNvCxnSpPr>
              <a:cxnSpLocks/>
            </p:cNvCxnSpPr>
            <p:nvPr/>
          </p:nvCxnSpPr>
          <p:spPr>
            <a:xfrm>
              <a:off x="603685" y="1651115"/>
              <a:ext cx="6012002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6E494A2-55C3-4AFC-9FE7-55532B9513D6}"/>
              </a:ext>
            </a:extLst>
          </p:cNvPr>
          <p:cNvGrpSpPr/>
          <p:nvPr/>
        </p:nvGrpSpPr>
        <p:grpSpPr>
          <a:xfrm>
            <a:off x="7462351" y="2093870"/>
            <a:ext cx="289650" cy="256374"/>
            <a:chOff x="10927467" y="2335634"/>
            <a:chExt cx="289650" cy="25637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F11FC4B-6B53-42E1-BC0B-612274A7AAD7}"/>
                </a:ext>
              </a:extLst>
            </p:cNvPr>
            <p:cNvSpPr>
              <a:spLocks/>
            </p:cNvSpPr>
            <p:nvPr/>
          </p:nvSpPr>
          <p:spPr>
            <a:xfrm>
              <a:off x="10927467" y="2335634"/>
              <a:ext cx="289650" cy="25637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34" name="Idea Google Shape;10130;p57">
              <a:extLst>
                <a:ext uri="{FF2B5EF4-FFF2-40B4-BE49-F238E27FC236}">
                  <a16:creationId xmlns:a16="http://schemas.microsoft.com/office/drawing/2014/main" id="{3227F15B-1195-4419-A2EC-19F2D1C7268B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0990069" y="2375725"/>
              <a:ext cx="164445" cy="176192"/>
              <a:chOff x="5463762" y="5502505"/>
              <a:chExt cx="491329" cy="526428"/>
            </a:xfrm>
            <a:solidFill>
              <a:srgbClr val="FFFFFF"/>
            </a:solidFill>
          </p:grpSpPr>
          <p:sp>
            <p:nvSpPr>
              <p:cNvPr id="136" name="Google Shape;10131;p57">
                <a:extLst>
                  <a:ext uri="{FF2B5EF4-FFF2-40B4-BE49-F238E27FC236}">
                    <a16:creationId xmlns:a16="http://schemas.microsoft.com/office/drawing/2014/main" id="{B97F975D-D5D0-4F98-92BD-811A4A056B2A}"/>
                  </a:ext>
                </a:extLst>
              </p:cNvPr>
              <p:cNvSpPr/>
              <p:nvPr/>
            </p:nvSpPr>
            <p:spPr>
              <a:xfrm>
                <a:off x="5544752" y="5590432"/>
                <a:ext cx="322368" cy="438501"/>
              </a:xfrm>
              <a:custGeom>
                <a:avLst/>
                <a:gdLst/>
                <a:ahLst/>
                <a:cxnLst/>
                <a:rect l="l" t="t" r="r" b="b"/>
                <a:pathLst>
                  <a:path w="7109" h="9670" extrusionOk="0">
                    <a:moveTo>
                      <a:pt x="3643" y="359"/>
                    </a:moveTo>
                    <a:cubicBezTo>
                      <a:pt x="4417" y="359"/>
                      <a:pt x="5132" y="645"/>
                      <a:pt x="5703" y="1157"/>
                    </a:cubicBezTo>
                    <a:cubicBezTo>
                      <a:pt x="6358" y="1752"/>
                      <a:pt x="6751" y="2597"/>
                      <a:pt x="6751" y="3478"/>
                    </a:cubicBezTo>
                    <a:cubicBezTo>
                      <a:pt x="6739" y="4074"/>
                      <a:pt x="6572" y="4669"/>
                      <a:pt x="6251" y="5157"/>
                    </a:cubicBezTo>
                    <a:cubicBezTo>
                      <a:pt x="5929" y="5645"/>
                      <a:pt x="5489" y="6038"/>
                      <a:pt x="4953" y="6288"/>
                    </a:cubicBezTo>
                    <a:cubicBezTo>
                      <a:pt x="4620" y="6431"/>
                      <a:pt x="4417" y="6776"/>
                      <a:pt x="4417" y="7146"/>
                    </a:cubicBezTo>
                    <a:lnTo>
                      <a:pt x="4417" y="7360"/>
                    </a:lnTo>
                    <a:lnTo>
                      <a:pt x="2834" y="7360"/>
                    </a:lnTo>
                    <a:lnTo>
                      <a:pt x="2834" y="7146"/>
                    </a:lnTo>
                    <a:cubicBezTo>
                      <a:pt x="2834" y="6776"/>
                      <a:pt x="2631" y="6455"/>
                      <a:pt x="2298" y="6288"/>
                    </a:cubicBezTo>
                    <a:cubicBezTo>
                      <a:pt x="1084" y="5705"/>
                      <a:pt x="381" y="4407"/>
                      <a:pt x="548" y="3074"/>
                    </a:cubicBezTo>
                    <a:cubicBezTo>
                      <a:pt x="726" y="1669"/>
                      <a:pt x="1869" y="526"/>
                      <a:pt x="3286" y="383"/>
                    </a:cubicBezTo>
                    <a:cubicBezTo>
                      <a:pt x="3405" y="359"/>
                      <a:pt x="3524" y="359"/>
                      <a:pt x="3643" y="359"/>
                    </a:cubicBezTo>
                    <a:close/>
                    <a:moveTo>
                      <a:pt x="4417" y="7729"/>
                    </a:moveTo>
                    <a:lnTo>
                      <a:pt x="4417" y="8324"/>
                    </a:lnTo>
                    <a:cubicBezTo>
                      <a:pt x="4417" y="8443"/>
                      <a:pt x="4322" y="8539"/>
                      <a:pt x="4203" y="8539"/>
                    </a:cubicBezTo>
                    <a:lnTo>
                      <a:pt x="3048" y="8539"/>
                    </a:lnTo>
                    <a:cubicBezTo>
                      <a:pt x="2929" y="8539"/>
                      <a:pt x="2834" y="8443"/>
                      <a:pt x="2834" y="8324"/>
                    </a:cubicBezTo>
                    <a:lnTo>
                      <a:pt x="2834" y="7729"/>
                    </a:lnTo>
                    <a:close/>
                    <a:moveTo>
                      <a:pt x="4024" y="8896"/>
                    </a:moveTo>
                    <a:lnTo>
                      <a:pt x="4024" y="9098"/>
                    </a:lnTo>
                    <a:cubicBezTo>
                      <a:pt x="4024" y="9217"/>
                      <a:pt x="3941" y="9313"/>
                      <a:pt x="3822" y="9313"/>
                    </a:cubicBezTo>
                    <a:lnTo>
                      <a:pt x="3429" y="9313"/>
                    </a:lnTo>
                    <a:cubicBezTo>
                      <a:pt x="3310" y="9313"/>
                      <a:pt x="3227" y="9217"/>
                      <a:pt x="3227" y="9098"/>
                    </a:cubicBezTo>
                    <a:lnTo>
                      <a:pt x="3227" y="8896"/>
                    </a:lnTo>
                    <a:close/>
                    <a:moveTo>
                      <a:pt x="3658" y="1"/>
                    </a:moveTo>
                    <a:cubicBezTo>
                      <a:pt x="3519" y="1"/>
                      <a:pt x="3379" y="9"/>
                      <a:pt x="3239" y="26"/>
                    </a:cubicBezTo>
                    <a:cubicBezTo>
                      <a:pt x="1667" y="204"/>
                      <a:pt x="381" y="1466"/>
                      <a:pt x="191" y="3026"/>
                    </a:cubicBezTo>
                    <a:cubicBezTo>
                      <a:pt x="0" y="4526"/>
                      <a:pt x="786" y="5979"/>
                      <a:pt x="2155" y="6610"/>
                    </a:cubicBezTo>
                    <a:cubicBezTo>
                      <a:pt x="2358" y="6705"/>
                      <a:pt x="2477" y="6931"/>
                      <a:pt x="2477" y="7146"/>
                    </a:cubicBezTo>
                    <a:lnTo>
                      <a:pt x="2477" y="8324"/>
                    </a:lnTo>
                    <a:cubicBezTo>
                      <a:pt x="2477" y="8574"/>
                      <a:pt x="2643" y="8789"/>
                      <a:pt x="2870" y="8860"/>
                    </a:cubicBezTo>
                    <a:lnTo>
                      <a:pt x="2870" y="9098"/>
                    </a:lnTo>
                    <a:cubicBezTo>
                      <a:pt x="2870" y="9408"/>
                      <a:pt x="3120" y="9670"/>
                      <a:pt x="3429" y="9670"/>
                    </a:cubicBezTo>
                    <a:lnTo>
                      <a:pt x="3822" y="9670"/>
                    </a:lnTo>
                    <a:cubicBezTo>
                      <a:pt x="4132" y="9670"/>
                      <a:pt x="4382" y="9408"/>
                      <a:pt x="4382" y="9098"/>
                    </a:cubicBezTo>
                    <a:lnTo>
                      <a:pt x="4382" y="8860"/>
                    </a:lnTo>
                    <a:cubicBezTo>
                      <a:pt x="4608" y="8789"/>
                      <a:pt x="4775" y="8574"/>
                      <a:pt x="4775" y="8324"/>
                    </a:cubicBezTo>
                    <a:lnTo>
                      <a:pt x="4775" y="7146"/>
                    </a:lnTo>
                    <a:cubicBezTo>
                      <a:pt x="4775" y="6931"/>
                      <a:pt x="4906" y="6717"/>
                      <a:pt x="5096" y="6610"/>
                    </a:cubicBezTo>
                    <a:cubicBezTo>
                      <a:pt x="5691" y="6336"/>
                      <a:pt x="6191" y="5895"/>
                      <a:pt x="6549" y="5348"/>
                    </a:cubicBezTo>
                    <a:cubicBezTo>
                      <a:pt x="6906" y="4788"/>
                      <a:pt x="7096" y="4133"/>
                      <a:pt x="7096" y="3455"/>
                    </a:cubicBezTo>
                    <a:cubicBezTo>
                      <a:pt x="7108" y="2490"/>
                      <a:pt x="6680" y="1538"/>
                      <a:pt x="5953" y="883"/>
                    </a:cubicBezTo>
                    <a:cubicBezTo>
                      <a:pt x="5309" y="310"/>
                      <a:pt x="4506" y="1"/>
                      <a:pt x="365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Google Shape;10132;p57">
                <a:extLst>
                  <a:ext uri="{FF2B5EF4-FFF2-40B4-BE49-F238E27FC236}">
                    <a16:creationId xmlns:a16="http://schemas.microsoft.com/office/drawing/2014/main" id="{F67AF24D-CAE8-479B-B4B3-4EA5AA7074EC}"/>
                  </a:ext>
                </a:extLst>
              </p:cNvPr>
              <p:cNvSpPr/>
              <p:nvPr/>
            </p:nvSpPr>
            <p:spPr>
              <a:xfrm>
                <a:off x="5885938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80" y="1"/>
                    </a:moveTo>
                    <a:cubicBezTo>
                      <a:pt x="72" y="1"/>
                      <a:pt x="1" y="72"/>
                      <a:pt x="1" y="179"/>
                    </a:cubicBezTo>
                    <a:cubicBezTo>
                      <a:pt x="1" y="275"/>
                      <a:pt x="72" y="358"/>
                      <a:pt x="180" y="358"/>
                    </a:cubicBezTo>
                    <a:lnTo>
                      <a:pt x="1346" y="358"/>
                    </a:lnTo>
                    <a:cubicBezTo>
                      <a:pt x="1442" y="358"/>
                      <a:pt x="1525" y="275"/>
                      <a:pt x="1525" y="179"/>
                    </a:cubicBezTo>
                    <a:cubicBezTo>
                      <a:pt x="1525" y="72"/>
                      <a:pt x="1430" y="1"/>
                      <a:pt x="134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Google Shape;10133;p57">
                <a:extLst>
                  <a:ext uri="{FF2B5EF4-FFF2-40B4-BE49-F238E27FC236}">
                    <a16:creationId xmlns:a16="http://schemas.microsoft.com/office/drawing/2014/main" id="{8D6EDCC8-D9B1-4E51-B414-AD5F06CF02A8}"/>
                  </a:ext>
                </a:extLst>
              </p:cNvPr>
              <p:cNvSpPr/>
              <p:nvPr/>
            </p:nvSpPr>
            <p:spPr>
              <a:xfrm>
                <a:off x="5463762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79" y="1"/>
                    </a:moveTo>
                    <a:cubicBezTo>
                      <a:pt x="72" y="1"/>
                      <a:pt x="0" y="72"/>
                      <a:pt x="0" y="179"/>
                    </a:cubicBezTo>
                    <a:cubicBezTo>
                      <a:pt x="0" y="275"/>
                      <a:pt x="72" y="358"/>
                      <a:pt x="179" y="358"/>
                    </a:cubicBezTo>
                    <a:lnTo>
                      <a:pt x="1334" y="358"/>
                    </a:lnTo>
                    <a:cubicBezTo>
                      <a:pt x="1441" y="358"/>
                      <a:pt x="1512" y="275"/>
                      <a:pt x="1512" y="179"/>
                    </a:cubicBezTo>
                    <a:cubicBezTo>
                      <a:pt x="1524" y="72"/>
                      <a:pt x="1441" y="1"/>
                      <a:pt x="13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Google Shape;10134;p57">
                <a:extLst>
                  <a:ext uri="{FF2B5EF4-FFF2-40B4-BE49-F238E27FC236}">
                    <a16:creationId xmlns:a16="http://schemas.microsoft.com/office/drawing/2014/main" id="{047D8D13-C940-4E12-90AF-7B828581A2AA}"/>
                  </a:ext>
                </a:extLst>
              </p:cNvPr>
              <p:cNvSpPr/>
              <p:nvPr/>
            </p:nvSpPr>
            <p:spPr>
              <a:xfrm>
                <a:off x="5701288" y="5502505"/>
                <a:ext cx="16279" cy="68609"/>
              </a:xfrm>
              <a:custGeom>
                <a:avLst/>
                <a:gdLst/>
                <a:ahLst/>
                <a:cxnLst/>
                <a:rect l="l" t="t" r="r" b="b"/>
                <a:pathLst>
                  <a:path w="359" h="1513" extrusionOk="0">
                    <a:moveTo>
                      <a:pt x="180" y="0"/>
                    </a:moveTo>
                    <a:cubicBezTo>
                      <a:pt x="72" y="0"/>
                      <a:pt x="1" y="72"/>
                      <a:pt x="1" y="179"/>
                    </a:cubicBezTo>
                    <a:lnTo>
                      <a:pt x="1" y="1334"/>
                    </a:lnTo>
                    <a:cubicBezTo>
                      <a:pt x="1" y="1441"/>
                      <a:pt x="72" y="1512"/>
                      <a:pt x="180" y="1512"/>
                    </a:cubicBezTo>
                    <a:cubicBezTo>
                      <a:pt x="275" y="1512"/>
                      <a:pt x="358" y="1441"/>
                      <a:pt x="358" y="1334"/>
                    </a:cubicBezTo>
                    <a:lnTo>
                      <a:pt x="358" y="179"/>
                    </a:lnTo>
                    <a:cubicBezTo>
                      <a:pt x="358" y="72"/>
                      <a:pt x="275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Google Shape;10135;p57">
                <a:extLst>
                  <a:ext uri="{FF2B5EF4-FFF2-40B4-BE49-F238E27FC236}">
                    <a16:creationId xmlns:a16="http://schemas.microsoft.com/office/drawing/2014/main" id="{D9E90294-8DEA-4721-B66F-C5F688052AEC}"/>
                  </a:ext>
                </a:extLst>
              </p:cNvPr>
              <p:cNvSpPr/>
              <p:nvPr/>
            </p:nvSpPr>
            <p:spPr>
              <a:xfrm>
                <a:off x="5791482" y="5557375"/>
                <a:ext cx="32423" cy="39633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74" extrusionOk="0">
                    <a:moveTo>
                      <a:pt x="513" y="0"/>
                    </a:moveTo>
                    <a:cubicBezTo>
                      <a:pt x="451" y="0"/>
                      <a:pt x="387" y="27"/>
                      <a:pt x="346" y="76"/>
                    </a:cubicBezTo>
                    <a:lnTo>
                      <a:pt x="48" y="588"/>
                    </a:lnTo>
                    <a:cubicBezTo>
                      <a:pt x="0" y="671"/>
                      <a:pt x="24" y="778"/>
                      <a:pt x="107" y="838"/>
                    </a:cubicBezTo>
                    <a:cubicBezTo>
                      <a:pt x="131" y="850"/>
                      <a:pt x="167" y="874"/>
                      <a:pt x="191" y="874"/>
                    </a:cubicBezTo>
                    <a:cubicBezTo>
                      <a:pt x="250" y="874"/>
                      <a:pt x="310" y="838"/>
                      <a:pt x="358" y="778"/>
                    </a:cubicBezTo>
                    <a:lnTo>
                      <a:pt x="655" y="278"/>
                    </a:lnTo>
                    <a:cubicBezTo>
                      <a:pt x="715" y="171"/>
                      <a:pt x="691" y="64"/>
                      <a:pt x="596" y="16"/>
                    </a:cubicBezTo>
                    <a:cubicBezTo>
                      <a:pt x="570" y="5"/>
                      <a:pt x="542" y="0"/>
                      <a:pt x="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Google Shape;10136;p57">
                <a:extLst>
                  <a:ext uri="{FF2B5EF4-FFF2-40B4-BE49-F238E27FC236}">
                    <a16:creationId xmlns:a16="http://schemas.microsoft.com/office/drawing/2014/main" id="{DD02263B-FAAE-4D97-8CE8-16CC868AD08C}"/>
                  </a:ext>
                </a:extLst>
              </p:cNvPr>
              <p:cNvSpPr/>
              <p:nvPr/>
            </p:nvSpPr>
            <p:spPr>
              <a:xfrm>
                <a:off x="5593861" y="5899424"/>
                <a:ext cx="32423" cy="39360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68" extrusionOk="0">
                    <a:moveTo>
                      <a:pt x="507" y="0"/>
                    </a:moveTo>
                    <a:cubicBezTo>
                      <a:pt x="444" y="0"/>
                      <a:pt x="387" y="33"/>
                      <a:pt x="346" y="82"/>
                    </a:cubicBezTo>
                    <a:lnTo>
                      <a:pt x="48" y="594"/>
                    </a:lnTo>
                    <a:cubicBezTo>
                      <a:pt x="1" y="677"/>
                      <a:pt x="24" y="784"/>
                      <a:pt x="108" y="844"/>
                    </a:cubicBezTo>
                    <a:cubicBezTo>
                      <a:pt x="132" y="855"/>
                      <a:pt x="155" y="867"/>
                      <a:pt x="191" y="867"/>
                    </a:cubicBezTo>
                    <a:cubicBezTo>
                      <a:pt x="251" y="867"/>
                      <a:pt x="310" y="844"/>
                      <a:pt x="358" y="784"/>
                    </a:cubicBezTo>
                    <a:lnTo>
                      <a:pt x="655" y="272"/>
                    </a:lnTo>
                    <a:cubicBezTo>
                      <a:pt x="715" y="189"/>
                      <a:pt x="679" y="82"/>
                      <a:pt x="596" y="22"/>
                    </a:cubicBezTo>
                    <a:cubicBezTo>
                      <a:pt x="566" y="7"/>
                      <a:pt x="536" y="0"/>
                      <a:pt x="50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Google Shape;10137;p57">
                <a:extLst>
                  <a:ext uri="{FF2B5EF4-FFF2-40B4-BE49-F238E27FC236}">
                    <a16:creationId xmlns:a16="http://schemas.microsoft.com/office/drawing/2014/main" id="{00A0DC16-D216-47E6-BA23-A5481C2EDD93}"/>
                  </a:ext>
                </a:extLst>
              </p:cNvPr>
              <p:cNvSpPr/>
              <p:nvPr/>
            </p:nvSpPr>
            <p:spPr>
              <a:xfrm>
                <a:off x="5593861" y="5556739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13" y="1"/>
                    </a:moveTo>
                    <a:cubicBezTo>
                      <a:pt x="181" y="1"/>
                      <a:pt x="148" y="10"/>
                      <a:pt x="120" y="30"/>
                    </a:cubicBezTo>
                    <a:cubicBezTo>
                      <a:pt x="24" y="78"/>
                      <a:pt x="1" y="197"/>
                      <a:pt x="60" y="292"/>
                    </a:cubicBezTo>
                    <a:lnTo>
                      <a:pt x="358" y="792"/>
                    </a:lnTo>
                    <a:cubicBezTo>
                      <a:pt x="382" y="852"/>
                      <a:pt x="441" y="888"/>
                      <a:pt x="525" y="888"/>
                    </a:cubicBezTo>
                    <a:cubicBezTo>
                      <a:pt x="548" y="888"/>
                      <a:pt x="584" y="864"/>
                      <a:pt x="608" y="852"/>
                    </a:cubicBezTo>
                    <a:cubicBezTo>
                      <a:pt x="679" y="792"/>
                      <a:pt x="715" y="685"/>
                      <a:pt x="667" y="602"/>
                    </a:cubicBezTo>
                    <a:lnTo>
                      <a:pt x="370" y="90"/>
                    </a:lnTo>
                    <a:cubicBezTo>
                      <a:pt x="338" y="35"/>
                      <a:pt x="276" y="1"/>
                      <a:pt x="2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Google Shape;10138;p57">
                <a:extLst>
                  <a:ext uri="{FF2B5EF4-FFF2-40B4-BE49-F238E27FC236}">
                    <a16:creationId xmlns:a16="http://schemas.microsoft.com/office/drawing/2014/main" id="{FAD35447-FD44-4340-8486-6432F32C08CC}"/>
                  </a:ext>
                </a:extLst>
              </p:cNvPr>
              <p:cNvSpPr/>
              <p:nvPr/>
            </p:nvSpPr>
            <p:spPr>
              <a:xfrm>
                <a:off x="5791482" y="5899605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21" y="0"/>
                    </a:moveTo>
                    <a:cubicBezTo>
                      <a:pt x="187" y="0"/>
                      <a:pt x="152" y="10"/>
                      <a:pt x="119" y="30"/>
                    </a:cubicBezTo>
                    <a:cubicBezTo>
                      <a:pt x="24" y="78"/>
                      <a:pt x="0" y="197"/>
                      <a:pt x="60" y="292"/>
                    </a:cubicBezTo>
                    <a:lnTo>
                      <a:pt x="358" y="792"/>
                    </a:lnTo>
                    <a:cubicBezTo>
                      <a:pt x="393" y="851"/>
                      <a:pt x="453" y="887"/>
                      <a:pt x="524" y="887"/>
                    </a:cubicBezTo>
                    <a:cubicBezTo>
                      <a:pt x="548" y="887"/>
                      <a:pt x="584" y="863"/>
                      <a:pt x="608" y="851"/>
                    </a:cubicBezTo>
                    <a:cubicBezTo>
                      <a:pt x="691" y="792"/>
                      <a:pt x="715" y="673"/>
                      <a:pt x="667" y="601"/>
                    </a:cubicBezTo>
                    <a:lnTo>
                      <a:pt x="369" y="89"/>
                    </a:lnTo>
                    <a:cubicBezTo>
                      <a:pt x="346" y="35"/>
                      <a:pt x="286" y="0"/>
                      <a:pt x="2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Google Shape;10139;p57">
                <a:extLst>
                  <a:ext uri="{FF2B5EF4-FFF2-40B4-BE49-F238E27FC236}">
                    <a16:creationId xmlns:a16="http://schemas.microsoft.com/office/drawing/2014/main" id="{D00CCF70-B3B0-4872-8AE7-BCB776311F07}"/>
                  </a:ext>
                </a:extLst>
              </p:cNvPr>
              <p:cNvSpPr/>
              <p:nvPr/>
            </p:nvSpPr>
            <p:spPr>
              <a:xfrm>
                <a:off x="5859501" y="5831947"/>
                <a:ext cx="42172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30" h="665" extrusionOk="0">
                    <a:moveTo>
                      <a:pt x="215" y="0"/>
                    </a:moveTo>
                    <a:cubicBezTo>
                      <a:pt x="152" y="0"/>
                      <a:pt x="89" y="32"/>
                      <a:pt x="48" y="81"/>
                    </a:cubicBezTo>
                    <a:cubicBezTo>
                      <a:pt x="1" y="177"/>
                      <a:pt x="36" y="272"/>
                      <a:pt x="108" y="331"/>
                    </a:cubicBezTo>
                    <a:lnTo>
                      <a:pt x="608" y="629"/>
                    </a:lnTo>
                    <a:cubicBezTo>
                      <a:pt x="643" y="653"/>
                      <a:pt x="667" y="665"/>
                      <a:pt x="703" y="665"/>
                    </a:cubicBezTo>
                    <a:cubicBezTo>
                      <a:pt x="763" y="665"/>
                      <a:pt x="822" y="629"/>
                      <a:pt x="870" y="569"/>
                    </a:cubicBezTo>
                    <a:cubicBezTo>
                      <a:pt x="929" y="486"/>
                      <a:pt x="893" y="367"/>
                      <a:pt x="810" y="319"/>
                    </a:cubicBezTo>
                    <a:lnTo>
                      <a:pt x="298" y="22"/>
                    </a:lnTo>
                    <a:cubicBezTo>
                      <a:pt x="272" y="7"/>
                      <a:pt x="244" y="0"/>
                      <a:pt x="2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Google Shape;10140;p57">
                <a:extLst>
                  <a:ext uri="{FF2B5EF4-FFF2-40B4-BE49-F238E27FC236}">
                    <a16:creationId xmlns:a16="http://schemas.microsoft.com/office/drawing/2014/main" id="{D587F7EF-1291-43E3-86D6-D2361BCB7760}"/>
                  </a:ext>
                </a:extLst>
              </p:cNvPr>
              <p:cNvSpPr/>
              <p:nvPr/>
            </p:nvSpPr>
            <p:spPr>
              <a:xfrm>
                <a:off x="5516681" y="5634328"/>
                <a:ext cx="42126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65" extrusionOk="0">
                    <a:moveTo>
                      <a:pt x="214" y="0"/>
                    </a:moveTo>
                    <a:cubicBezTo>
                      <a:pt x="152" y="0"/>
                      <a:pt x="89" y="33"/>
                      <a:pt x="48" y="82"/>
                    </a:cubicBezTo>
                    <a:cubicBezTo>
                      <a:pt x="0" y="165"/>
                      <a:pt x="36" y="272"/>
                      <a:pt x="107" y="332"/>
                    </a:cubicBezTo>
                    <a:lnTo>
                      <a:pt x="619" y="629"/>
                    </a:lnTo>
                    <a:cubicBezTo>
                      <a:pt x="643" y="641"/>
                      <a:pt x="667" y="665"/>
                      <a:pt x="703" y="665"/>
                    </a:cubicBezTo>
                    <a:cubicBezTo>
                      <a:pt x="762" y="665"/>
                      <a:pt x="822" y="629"/>
                      <a:pt x="869" y="570"/>
                    </a:cubicBezTo>
                    <a:cubicBezTo>
                      <a:pt x="929" y="463"/>
                      <a:pt x="893" y="367"/>
                      <a:pt x="810" y="320"/>
                    </a:cubicBezTo>
                    <a:lnTo>
                      <a:pt x="298" y="22"/>
                    </a:lnTo>
                    <a:cubicBezTo>
                      <a:pt x="272" y="7"/>
                      <a:pt x="243" y="0"/>
                      <a:pt x="21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Google Shape;10141;p57">
                <a:extLst>
                  <a:ext uri="{FF2B5EF4-FFF2-40B4-BE49-F238E27FC236}">
                    <a16:creationId xmlns:a16="http://schemas.microsoft.com/office/drawing/2014/main" id="{3EF12144-EF78-40C8-8111-9AFDA0E97BBC}"/>
                  </a:ext>
                </a:extLst>
              </p:cNvPr>
              <p:cNvSpPr/>
              <p:nvPr/>
            </p:nvSpPr>
            <p:spPr>
              <a:xfrm>
                <a:off x="5858957" y="5634509"/>
                <a:ext cx="4271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73" extrusionOk="0">
                    <a:moveTo>
                      <a:pt x="725" y="0"/>
                    </a:moveTo>
                    <a:cubicBezTo>
                      <a:pt x="693" y="0"/>
                      <a:pt x="660" y="10"/>
                      <a:pt x="632" y="30"/>
                    </a:cubicBezTo>
                    <a:lnTo>
                      <a:pt x="120" y="328"/>
                    </a:lnTo>
                    <a:cubicBezTo>
                      <a:pt x="36" y="375"/>
                      <a:pt x="1" y="494"/>
                      <a:pt x="60" y="578"/>
                    </a:cubicBezTo>
                    <a:cubicBezTo>
                      <a:pt x="96" y="637"/>
                      <a:pt x="155" y="673"/>
                      <a:pt x="227" y="673"/>
                    </a:cubicBezTo>
                    <a:cubicBezTo>
                      <a:pt x="251" y="673"/>
                      <a:pt x="286" y="661"/>
                      <a:pt x="310" y="637"/>
                    </a:cubicBezTo>
                    <a:lnTo>
                      <a:pt x="822" y="340"/>
                    </a:lnTo>
                    <a:cubicBezTo>
                      <a:pt x="905" y="280"/>
                      <a:pt x="941" y="161"/>
                      <a:pt x="882" y="89"/>
                    </a:cubicBezTo>
                    <a:cubicBezTo>
                      <a:pt x="850" y="35"/>
                      <a:pt x="788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Google Shape;10142;p57">
                <a:extLst>
                  <a:ext uri="{FF2B5EF4-FFF2-40B4-BE49-F238E27FC236}">
                    <a16:creationId xmlns:a16="http://schemas.microsoft.com/office/drawing/2014/main" id="{DC552FB1-8FC2-492C-90E8-49713B4B5F00}"/>
                  </a:ext>
                </a:extLst>
              </p:cNvPr>
              <p:cNvSpPr/>
              <p:nvPr/>
            </p:nvSpPr>
            <p:spPr>
              <a:xfrm>
                <a:off x="5516681" y="5832129"/>
                <a:ext cx="4212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73" extrusionOk="0">
                    <a:moveTo>
                      <a:pt x="725" y="0"/>
                    </a:moveTo>
                    <a:cubicBezTo>
                      <a:pt x="692" y="0"/>
                      <a:pt x="660" y="9"/>
                      <a:pt x="631" y="30"/>
                    </a:cubicBezTo>
                    <a:lnTo>
                      <a:pt x="119" y="327"/>
                    </a:lnTo>
                    <a:cubicBezTo>
                      <a:pt x="36" y="375"/>
                      <a:pt x="0" y="494"/>
                      <a:pt x="60" y="589"/>
                    </a:cubicBezTo>
                    <a:cubicBezTo>
                      <a:pt x="95" y="649"/>
                      <a:pt x="155" y="673"/>
                      <a:pt x="226" y="673"/>
                    </a:cubicBezTo>
                    <a:cubicBezTo>
                      <a:pt x="262" y="673"/>
                      <a:pt x="286" y="661"/>
                      <a:pt x="322" y="649"/>
                    </a:cubicBezTo>
                    <a:lnTo>
                      <a:pt x="822" y="351"/>
                    </a:lnTo>
                    <a:cubicBezTo>
                      <a:pt x="893" y="292"/>
                      <a:pt x="929" y="173"/>
                      <a:pt x="881" y="89"/>
                    </a:cubicBezTo>
                    <a:cubicBezTo>
                      <a:pt x="850" y="34"/>
                      <a:pt x="787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56926-0B32-C96F-95E6-E5EC709C5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C164D72F-517B-410A-B497-2803DC9B7F2D}"/>
              </a:ext>
            </a:extLst>
          </p:cNvPr>
          <p:cNvGrpSpPr/>
          <p:nvPr/>
        </p:nvGrpSpPr>
        <p:grpSpPr>
          <a:xfrm>
            <a:off x="10931492" y="2074610"/>
            <a:ext cx="289650" cy="257508"/>
            <a:chOff x="10931492" y="2340619"/>
            <a:chExt cx="289650" cy="257508"/>
          </a:xfrm>
        </p:grpSpPr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8DD4AFCB-FCF8-4B23-AAD1-16A75C242ABF}"/>
                </a:ext>
              </a:extLst>
            </p:cNvPr>
            <p:cNvSpPr>
              <a:spLocks/>
            </p:cNvSpPr>
            <p:nvPr/>
          </p:nvSpPr>
          <p:spPr>
            <a:xfrm>
              <a:off x="10931492" y="2340619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98" name="Target Graphic 45 (2)">
              <a:extLst>
                <a:ext uri="{FF2B5EF4-FFF2-40B4-BE49-F238E27FC236}">
                  <a16:creationId xmlns:a16="http://schemas.microsoft.com/office/drawing/2014/main" id="{B355EAB2-B6A9-475E-9040-522F6F2EB872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0988222" y="2381277"/>
              <a:ext cx="176191" cy="176191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163199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E32783-6693-75A7-A498-05A7EE7F09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E32783-6693-75A7-A498-05A7EE7F0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1084DFD-41C9-471A-833E-4AFFAE7B0701}"/>
              </a:ext>
            </a:extLst>
          </p:cNvPr>
          <p:cNvSpPr/>
          <p:nvPr/>
        </p:nvSpPr>
        <p:spPr>
          <a:xfrm>
            <a:off x="8256760" y="2033936"/>
            <a:ext cx="2952578" cy="41668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567077-3BD4-1CC0-7D60-8FAAB1E5A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Background to the project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3027D3A3-D383-561F-E0CD-309B27E642A3}"/>
              </a:ext>
            </a:extLst>
          </p:cNvPr>
          <p:cNvSpPr txBox="1">
            <a:spLocks/>
          </p:cNvSpPr>
          <p:nvPr/>
        </p:nvSpPr>
        <p:spPr>
          <a:xfrm>
            <a:off x="1028962" y="1491917"/>
            <a:ext cx="7153337" cy="50188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900"/>
              </a:spcBef>
              <a:buFont typeface="Arial" panose="020B0604020202020204" pitchFamily="34" charset="0"/>
              <a:buNone/>
              <a:defRPr sz="2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800"/>
              </a:lnSpc>
              <a:spcBef>
                <a:spcPts val="900"/>
              </a:spcBef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ts val="2800"/>
              </a:lnSpc>
              <a:spcBef>
                <a:spcPts val="9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ts val="2800"/>
              </a:lnSpc>
              <a:spcBef>
                <a:spcPts val="900"/>
              </a:spcBef>
              <a:buFont typeface="Calibri" panose="020F0502020204030204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ts val="2800"/>
              </a:lnSpc>
              <a:spcBef>
                <a:spcPts val="900"/>
              </a:spcBef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DIS Quality and Safeguards Commission (the Commission) aspires to become a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mporary, purpose-centred regulator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t focuses on NDIS participants as part of all organisational activities.  </a:t>
            </a: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ission Operating System (COS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,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 developed 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 to the Commission </a:t>
            </a:r>
            <a:r>
              <a:rPr lang="en-GB" sz="1600" b="0" dirty="0" smtClean="0">
                <a:solidFill>
                  <a:prstClr val="black"/>
                </a:solidFill>
                <a:latin typeface="Calibri" panose="020F0502020204030204"/>
              </a:rPr>
              <a:t>being implemented, 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e many of the Commission’s core functions. 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range of other tools were also developed at this time and remain </a:t>
            </a:r>
            <a:r>
              <a:rPr lang="en-GB" sz="1600" b="0" dirty="0" smtClean="0">
                <a:solidFill>
                  <a:prstClr val="black"/>
                </a:solidFill>
                <a:latin typeface="Calibri" panose="020F0502020204030204"/>
              </a:rPr>
              <a:t>within the Commission’s ICT environment. </a:t>
            </a: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600" b="0" dirty="0" smtClean="0">
                <a:solidFill>
                  <a:prstClr val="black"/>
                </a:solidFill>
              </a:rPr>
              <a:t>Since the Commission commenced operations, there </a:t>
            </a:r>
            <a:r>
              <a:rPr lang="en-GB" sz="1600" b="0" dirty="0">
                <a:solidFill>
                  <a:prstClr val="black"/>
                </a:solidFill>
              </a:rPr>
              <a:t>has been significant growth in the number of NDIS participants, the number of NDIS providers, and increased complexity within the market. This had led </a:t>
            </a:r>
            <a:r>
              <a:rPr lang="en-GB" sz="1600" b="0" dirty="0" smtClean="0">
                <a:solidFill>
                  <a:prstClr val="black"/>
                </a:solidFill>
              </a:rPr>
              <a:t>to changed requirements for the Commission’s ICT tools and environment.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600" b="0" dirty="0" smtClean="0">
                <a:solidFill>
                  <a:prstClr val="black"/>
                </a:solidFill>
              </a:rPr>
              <a:t>It </a:t>
            </a:r>
            <a:r>
              <a:rPr lang="en-GB" sz="1600" b="0" dirty="0">
                <a:solidFill>
                  <a:prstClr val="black"/>
                </a:solidFill>
              </a:rPr>
              <a:t>is recognised that the Commission’s Data and Digital environment is a key enabler of the Commission’s </a:t>
            </a:r>
            <a:r>
              <a:rPr lang="en-GB" sz="1600" b="0" dirty="0" smtClean="0">
                <a:solidFill>
                  <a:prstClr val="black"/>
                </a:solidFill>
              </a:rPr>
              <a:t>purpose and vision.</a:t>
            </a:r>
            <a:endParaRPr lang="en-GB" sz="1600" b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</a:t>
            </a: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</a:t>
            </a:r>
            <a:r>
              <a:rPr kumimoji="0" lang="en-NZ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ll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informed decision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ing in relation to investment, and its delivery will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ommission’s maturity as a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or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AU" sz="1600" b="0" i="0" u="none" strike="sng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Helvetica Neue"/>
              <a:cs typeface="Calibri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C9C9F7-7260-9DBF-41F7-B974DA33B9F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33172" y="2289377"/>
            <a:ext cx="1999754" cy="15558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FE24D20-C9A9-9A80-957A-9A5833C5879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5052" y="4048006"/>
            <a:ext cx="1675994" cy="194092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F12D1B-F397-49C3-9F2B-9CD5BA7A1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43754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ct 111" hidden="1">
            <a:extLst>
              <a:ext uri="{FF2B5EF4-FFF2-40B4-BE49-F238E27FC236}">
                <a16:creationId xmlns:a16="http://schemas.microsoft.com/office/drawing/2014/main" id="{42D6783D-FC86-46BB-81A7-105524F92A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2131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7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12" name="Object 111" hidden="1">
                        <a:extLst>
                          <a:ext uri="{FF2B5EF4-FFF2-40B4-BE49-F238E27FC236}">
                            <a16:creationId xmlns:a16="http://schemas.microsoft.com/office/drawing/2014/main" id="{42D6783D-FC86-46BB-81A7-105524F92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1A0829C3-C86B-4668-B867-780EE863AFE1}"/>
              </a:ext>
            </a:extLst>
          </p:cNvPr>
          <p:cNvGrpSpPr/>
          <p:nvPr/>
        </p:nvGrpSpPr>
        <p:grpSpPr>
          <a:xfrm>
            <a:off x="4440000" y="1994423"/>
            <a:ext cx="3312000" cy="1780823"/>
            <a:chOff x="617534" y="1614488"/>
            <a:chExt cx="6012001" cy="1852394"/>
          </a:xfrm>
        </p:grpSpPr>
        <p:sp>
          <p:nvSpPr>
            <p:cNvPr id="57" name="TextBox 4">
              <a:extLst>
                <a:ext uri="{FF2B5EF4-FFF2-40B4-BE49-F238E27FC236}">
                  <a16:creationId xmlns:a16="http://schemas.microsoft.com/office/drawing/2014/main" id="{C9D8BE34-6061-4A8F-921F-8E4D9B54A5B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614488"/>
              <a:ext cx="6012001" cy="18523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ution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Optimise and standardise current processes, e.g</a:t>
              </a:r>
              <a:r>
                <a:rPr kumimoji="0" lang="en-AU" sz="1000" b="0" i="0" u="none" strike="noStrike" kern="0" cap="none" spc="0" normalizeH="0" baseline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. </a:t>
              </a: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standardise correspondence and establish regulatory risk framework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Assign process ownership to functions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Automate simple and repetitive processes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AU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8177ED5-EAC0-43B3-BC37-E6676370150C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20DA3D-41AD-4F62-8E35-700CCD1C4C13}"/>
              </a:ext>
            </a:extLst>
          </p:cNvPr>
          <p:cNvGrpSpPr/>
          <p:nvPr/>
        </p:nvGrpSpPr>
        <p:grpSpPr>
          <a:xfrm>
            <a:off x="982663" y="2003367"/>
            <a:ext cx="3312000" cy="1773069"/>
            <a:chOff x="617534" y="1614488"/>
            <a:chExt cx="6012001" cy="1852394"/>
          </a:xfrm>
        </p:grpSpPr>
        <p:sp>
          <p:nvSpPr>
            <p:cNvPr id="70" name="TextBox 4">
              <a:extLst>
                <a:ext uri="{FF2B5EF4-FFF2-40B4-BE49-F238E27FC236}">
                  <a16:creationId xmlns:a16="http://schemas.microsoft.com/office/drawing/2014/main" id="{DABC1CF3-528E-4771-BEF1-6B07AE476073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614488"/>
              <a:ext cx="6012001" cy="18523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blem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Current processes are not optimised, leading to inefficient operations 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Lack of up-to-date documentation of processes, limiting ability to drive process performance based on business logic</a:t>
              </a:r>
            </a:p>
            <a:p>
              <a:pPr marL="179705" marR="0" lvl="0" indent="-179705" algn="l" defTabSz="27000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Excess time spent on simple and repetitive tasks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D838BA-A124-460C-B48C-282BEA6CE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613E042-6CFD-40D8-96D1-8C0C76A4874E}"/>
              </a:ext>
            </a:extLst>
          </p:cNvPr>
          <p:cNvSpPr txBox="1">
            <a:spLocks/>
          </p:cNvSpPr>
          <p:nvPr/>
        </p:nvSpPr>
        <p:spPr>
          <a:xfrm>
            <a:off x="11718924" y="6658264"/>
            <a:ext cx="492551" cy="3521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AU" sz="1200" b="0" i="0" u="none" strike="noStrike" kern="1200" cap="none" spc="0" normalizeH="0" baseline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AU" sz="12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A3798C-DB7A-4257-BDE6-DD298EB65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/>
              <a:t>5. </a:t>
            </a:r>
            <a:r>
              <a:rPr lang="en-AU" dirty="0" smtClean="0"/>
              <a:t>Optimised processes</a:t>
            </a:r>
            <a:endParaRPr lang="en-AU" dirty="0"/>
          </a:p>
        </p:txBody>
      </p:sp>
      <p:sp>
        <p:nvSpPr>
          <p:cNvPr id="54" name="Rectangle 10">
            <a:extLst>
              <a:ext uri="{FF2B5EF4-FFF2-40B4-BE49-F238E27FC236}">
                <a16:creationId xmlns:a16="http://schemas.microsoft.com/office/drawing/2014/main" id="{374652A6-5705-4BB8-9ADD-09696A31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2" y="1562826"/>
            <a:ext cx="1023445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tream overview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E251498-FF77-4F75-A773-4442B414B349}"/>
              </a:ext>
            </a:extLst>
          </p:cNvPr>
          <p:cNvGrpSpPr/>
          <p:nvPr/>
        </p:nvGrpSpPr>
        <p:grpSpPr>
          <a:xfrm>
            <a:off x="982662" y="3865836"/>
            <a:ext cx="6769337" cy="1443139"/>
            <a:chOff x="7908293" y="2332107"/>
            <a:chExt cx="3312000" cy="1443139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6B59AEF-8C95-429D-95D2-445CBD85E983}"/>
                </a:ext>
              </a:extLst>
            </p:cNvPr>
            <p:cNvGrpSpPr/>
            <p:nvPr/>
          </p:nvGrpSpPr>
          <p:grpSpPr>
            <a:xfrm>
              <a:off x="7908293" y="2332107"/>
              <a:ext cx="3312000" cy="1443139"/>
              <a:chOff x="603685" y="1651115"/>
              <a:chExt cx="6012001" cy="1856881"/>
            </a:xfrm>
          </p:grpSpPr>
          <p:sp>
            <p:nvSpPr>
              <p:cNvPr id="96" name="TextBox 4">
                <a:extLst>
                  <a:ext uri="{FF2B5EF4-FFF2-40B4-BE49-F238E27FC236}">
                    <a16:creationId xmlns:a16="http://schemas.microsoft.com/office/drawing/2014/main" id="{F9E38435-8F28-4C3A-B13E-1E37E00C2D02}"/>
                  </a:ext>
                </a:extLst>
              </p:cNvPr>
              <p:cNvSpPr txBox="1">
                <a:spLocks noChangeArrowheads="1"/>
              </p:cNvSpPr>
              <p:nvPr userDrawn="1"/>
            </p:nvSpPr>
            <p:spPr bwMode="auto">
              <a:xfrm>
                <a:off x="603685" y="1655602"/>
                <a:ext cx="6012000" cy="185239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144000" tIns="108000" rIns="216000" bIns="14400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270000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•"/>
                  <a:tabLst>
                    <a:tab pos="270000" algn="l"/>
                  </a:tabLst>
                  <a:defRPr sz="1400" kern="0"/>
                </a:lvl1pPr>
                <a:lvl2pPr marL="540000" lvl="1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Font typeface="Calibri" panose="020F0502020204030204" pitchFamily="34" charset="0"/>
                  <a:buChar char="‒"/>
                  <a:tabLst>
                    <a:tab pos="270000" algn="l"/>
                  </a:tabLst>
                  <a:defRPr sz="1400" kern="0"/>
                </a:lvl2pPr>
                <a:lvl3pPr marL="810000" lvl="2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Courier New" panose="02070309020205020404" pitchFamily="49" charset="0"/>
                  <a:buChar char="o"/>
                  <a:tabLst>
                    <a:tab pos="270000" algn="l"/>
                  </a:tabLst>
                  <a:defRPr sz="1400" kern="0"/>
                </a:lvl3pPr>
                <a:lvl4pPr marL="1080000" lvl="3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Wingdings" panose="05000000000000000000" pitchFamily="2" charset="2"/>
                  <a:buChar char="§"/>
                  <a:tabLst>
                    <a:tab pos="270000" algn="l"/>
                  </a:tabLst>
                  <a:defRPr sz="1400" kern="0"/>
                </a:lvl4pPr>
                <a:lvl5pPr marL="810000" indent="0" defTabSz="89535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rgbClr val="18345E"/>
                  </a:buClr>
                  <a:buFont typeface="Wingdings" panose="05000000000000000000" pitchFamily="2" charset="2"/>
                  <a:buNone/>
                  <a:defRPr sz="1400" baseline="0"/>
                </a:lvl5pPr>
                <a:lvl6pPr marL="2152650" indent="-361950" fontAlgn="base">
                  <a:spcBef>
                    <a:spcPct val="20000"/>
                  </a:spcBef>
                  <a:spcAft>
                    <a:spcPct val="0"/>
                  </a:spcAft>
                  <a:buFont typeface="Calibri" pitchFamily="34" charset="0"/>
                  <a:buChar char="­"/>
                  <a:defRPr sz="1400"/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9pPr>
              </a:lstStyle>
              <a:p>
                <a:pPr marL="0" marR="0" lvl="0" indent="0" algn="l" defTabSz="27000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50" b="1" i="0" u="none" strike="noStrike" kern="0" cap="none" spc="0" normalizeH="0" baseline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utcomes</a:t>
                </a:r>
              </a:p>
              <a:p>
                <a:pPr marL="0" marR="0" lvl="0" indent="0" algn="l" defTabSz="27000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00" b="1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Participants: </a:t>
                </a:r>
                <a:r>
                  <a:rPr kumimoji="0" lang="en-AU" sz="10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Improved ability of Commission to safeguard participant rights and improve provider </a:t>
                </a:r>
                <a:r>
                  <a:rPr kumimoji="0" lang="en-AU" sz="1000" b="0" i="0" u="none" strike="noStrike" kern="0" cap="none" spc="0" normalizeH="0" baseline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service</a:t>
                </a:r>
                <a:endPara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  <a:p>
                <a:pPr marL="0" marR="0" lvl="0" indent="0" algn="l" defTabSz="27000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00" b="1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Commission staff:</a:t>
                </a:r>
                <a:r>
                  <a:rPr kumimoji="0" lang="en-AU" sz="10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 Improved efficiency of </a:t>
                </a:r>
                <a:r>
                  <a:rPr kumimoji="0" lang="en-AU" sz="1000" b="0" i="0" u="none" strike="noStrike" kern="0" cap="none" spc="0" normalizeH="0" baseline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operations, clarity of expectations, </a:t>
                </a:r>
                <a:r>
                  <a:rPr kumimoji="0" lang="en-AU" sz="10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and decreased frustration</a:t>
                </a:r>
                <a:endParaRPr kumimoji="0" lang="en-AU" sz="1000" b="1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16C8DB7-CFE4-433F-B545-0905644562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685" y="1651115"/>
                <a:ext cx="6012001" cy="0"/>
              </a:xfrm>
              <a:prstGeom prst="line">
                <a:avLst/>
              </a:prstGeom>
              <a:ln w="254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BF8EF5F5-6DE7-402E-A412-E8C53B79EA2B}"/>
                </a:ext>
              </a:extLst>
            </p:cNvPr>
            <p:cNvGrpSpPr/>
            <p:nvPr/>
          </p:nvGrpSpPr>
          <p:grpSpPr>
            <a:xfrm>
              <a:off x="10927466" y="2334500"/>
              <a:ext cx="289650" cy="257508"/>
              <a:chOff x="10962167" y="2469373"/>
              <a:chExt cx="289650" cy="257508"/>
            </a:xfrm>
          </p:grpSpPr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6F9ACC9C-32A1-4663-B108-708FC57FAC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962167" y="2469373"/>
                <a:ext cx="289650" cy="25750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29" name="Handshake Google Shape;13584;p63">
                <a:extLst>
                  <a:ext uri="{FF2B5EF4-FFF2-40B4-BE49-F238E27FC236}">
                    <a16:creationId xmlns:a16="http://schemas.microsoft.com/office/drawing/2014/main" id="{6E6DB1FC-A402-4D01-A5B2-164830AB076A}"/>
                  </a:ext>
                </a:extLst>
              </p:cNvPr>
              <p:cNvGrpSpPr>
                <a:grpSpLocks/>
              </p:cNvGrpSpPr>
              <p:nvPr>
                <p:custDataLst>
                  <p:tags r:id="rId6"/>
                </p:custDataLst>
              </p:nvPr>
            </p:nvGrpSpPr>
            <p:grpSpPr>
              <a:xfrm>
                <a:off x="11022155" y="2511137"/>
                <a:ext cx="180696" cy="153070"/>
                <a:chOff x="3693404" y="2679504"/>
                <a:chExt cx="436113" cy="369438"/>
              </a:xfrm>
              <a:solidFill>
                <a:srgbClr val="FFFFFF"/>
              </a:solidFill>
            </p:grpSpPr>
            <p:sp>
              <p:nvSpPr>
                <p:cNvPr id="131" name="Google Shape;13585;p63">
                  <a:extLst>
                    <a:ext uri="{FF2B5EF4-FFF2-40B4-BE49-F238E27FC236}">
                      <a16:creationId xmlns:a16="http://schemas.microsoft.com/office/drawing/2014/main" id="{A9F8ACED-8273-4187-9CB8-C33AEBB8DA10}"/>
                    </a:ext>
                  </a:extLst>
                </p:cNvPr>
                <p:cNvSpPr/>
                <p:nvPr/>
              </p:nvSpPr>
              <p:spPr>
                <a:xfrm>
                  <a:off x="3693404" y="2698049"/>
                  <a:ext cx="436113" cy="35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6" h="8268" extrusionOk="0">
                      <a:moveTo>
                        <a:pt x="6251" y="2267"/>
                      </a:moveTo>
                      <a:lnTo>
                        <a:pt x="7061" y="2541"/>
                      </a:lnTo>
                      <a:cubicBezTo>
                        <a:pt x="7073" y="2544"/>
                        <a:pt x="7086" y="2545"/>
                        <a:pt x="7098" y="2545"/>
                      </a:cubicBezTo>
                      <a:cubicBezTo>
                        <a:pt x="7136" y="2545"/>
                        <a:pt x="7174" y="2532"/>
                        <a:pt x="7192" y="2505"/>
                      </a:cubicBezTo>
                      <a:lnTo>
                        <a:pt x="7454" y="2314"/>
                      </a:lnTo>
                      <a:lnTo>
                        <a:pt x="9240" y="4660"/>
                      </a:lnTo>
                      <a:lnTo>
                        <a:pt x="8978" y="4874"/>
                      </a:lnTo>
                      <a:cubicBezTo>
                        <a:pt x="8966" y="4862"/>
                        <a:pt x="8942" y="4839"/>
                        <a:pt x="8930" y="4839"/>
                      </a:cubicBezTo>
                      <a:lnTo>
                        <a:pt x="5811" y="3148"/>
                      </a:lnTo>
                      <a:lnTo>
                        <a:pt x="5930" y="2969"/>
                      </a:lnTo>
                      <a:cubicBezTo>
                        <a:pt x="5978" y="2898"/>
                        <a:pt x="5966" y="2803"/>
                        <a:pt x="5894" y="2755"/>
                      </a:cubicBezTo>
                      <a:cubicBezTo>
                        <a:pt x="5864" y="2742"/>
                        <a:pt x="5834" y="2735"/>
                        <a:pt x="5806" y="2735"/>
                      </a:cubicBezTo>
                      <a:cubicBezTo>
                        <a:pt x="5756" y="2735"/>
                        <a:pt x="5710" y="2757"/>
                        <a:pt x="5680" y="2803"/>
                      </a:cubicBezTo>
                      <a:lnTo>
                        <a:pt x="5358" y="3326"/>
                      </a:lnTo>
                      <a:cubicBezTo>
                        <a:pt x="5335" y="3350"/>
                        <a:pt x="5323" y="3374"/>
                        <a:pt x="5323" y="3398"/>
                      </a:cubicBezTo>
                      <a:lnTo>
                        <a:pt x="5323" y="4684"/>
                      </a:lnTo>
                      <a:cubicBezTo>
                        <a:pt x="5323" y="4946"/>
                        <a:pt x="5097" y="5172"/>
                        <a:pt x="4835" y="5172"/>
                      </a:cubicBezTo>
                      <a:cubicBezTo>
                        <a:pt x="4561" y="5172"/>
                        <a:pt x="4346" y="4946"/>
                        <a:pt x="4346" y="4684"/>
                      </a:cubicBezTo>
                      <a:lnTo>
                        <a:pt x="4346" y="3410"/>
                      </a:lnTo>
                      <a:lnTo>
                        <a:pt x="4620" y="2267"/>
                      </a:lnTo>
                      <a:close/>
                      <a:moveTo>
                        <a:pt x="2680" y="1767"/>
                      </a:moveTo>
                      <a:lnTo>
                        <a:pt x="2918" y="1898"/>
                      </a:lnTo>
                      <a:lnTo>
                        <a:pt x="941" y="5303"/>
                      </a:lnTo>
                      <a:lnTo>
                        <a:pt x="703" y="5172"/>
                      </a:lnTo>
                      <a:lnTo>
                        <a:pt x="2680" y="1767"/>
                      </a:lnTo>
                      <a:close/>
                      <a:moveTo>
                        <a:pt x="3180" y="4743"/>
                      </a:moveTo>
                      <a:cubicBezTo>
                        <a:pt x="3287" y="4743"/>
                        <a:pt x="3370" y="4779"/>
                        <a:pt x="3442" y="4874"/>
                      </a:cubicBezTo>
                      <a:cubicBezTo>
                        <a:pt x="3561" y="5017"/>
                        <a:pt x="3525" y="5231"/>
                        <a:pt x="3370" y="5339"/>
                      </a:cubicBezTo>
                      <a:lnTo>
                        <a:pt x="2322" y="6112"/>
                      </a:lnTo>
                      <a:cubicBezTo>
                        <a:pt x="2262" y="6150"/>
                        <a:pt x="2194" y="6169"/>
                        <a:pt x="2127" y="6169"/>
                      </a:cubicBezTo>
                      <a:cubicBezTo>
                        <a:pt x="2023" y="6169"/>
                        <a:pt x="1923" y="6123"/>
                        <a:pt x="1858" y="6029"/>
                      </a:cubicBezTo>
                      <a:cubicBezTo>
                        <a:pt x="1751" y="5886"/>
                        <a:pt x="1787" y="5672"/>
                        <a:pt x="1929" y="5565"/>
                      </a:cubicBezTo>
                      <a:lnTo>
                        <a:pt x="2989" y="4803"/>
                      </a:lnTo>
                      <a:cubicBezTo>
                        <a:pt x="3049" y="4755"/>
                        <a:pt x="3120" y="4743"/>
                        <a:pt x="3180" y="4743"/>
                      </a:cubicBezTo>
                      <a:close/>
                      <a:moveTo>
                        <a:pt x="3775" y="5493"/>
                      </a:moveTo>
                      <a:cubicBezTo>
                        <a:pt x="3870" y="5493"/>
                        <a:pt x="3954" y="5553"/>
                        <a:pt x="4013" y="5636"/>
                      </a:cubicBezTo>
                      <a:cubicBezTo>
                        <a:pt x="4132" y="5779"/>
                        <a:pt x="4085" y="5993"/>
                        <a:pt x="3942" y="6089"/>
                      </a:cubicBezTo>
                      <a:lnTo>
                        <a:pt x="3132" y="6708"/>
                      </a:lnTo>
                      <a:cubicBezTo>
                        <a:pt x="3076" y="6745"/>
                        <a:pt x="3013" y="6764"/>
                        <a:pt x="2949" y="6764"/>
                      </a:cubicBezTo>
                      <a:cubicBezTo>
                        <a:pt x="2851" y="6764"/>
                        <a:pt x="2752" y="6718"/>
                        <a:pt x="2680" y="6624"/>
                      </a:cubicBezTo>
                      <a:cubicBezTo>
                        <a:pt x="2572" y="6482"/>
                        <a:pt x="2596" y="6255"/>
                        <a:pt x="2751" y="6148"/>
                      </a:cubicBezTo>
                      <a:lnTo>
                        <a:pt x="3537" y="5589"/>
                      </a:lnTo>
                      <a:cubicBezTo>
                        <a:pt x="3573" y="5565"/>
                        <a:pt x="3596" y="5541"/>
                        <a:pt x="3620" y="5529"/>
                      </a:cubicBezTo>
                      <a:cubicBezTo>
                        <a:pt x="3668" y="5517"/>
                        <a:pt x="3715" y="5493"/>
                        <a:pt x="3775" y="5493"/>
                      </a:cubicBezTo>
                      <a:close/>
                      <a:moveTo>
                        <a:pt x="4359" y="6281"/>
                      </a:moveTo>
                      <a:cubicBezTo>
                        <a:pt x="4454" y="6281"/>
                        <a:pt x="4550" y="6321"/>
                        <a:pt x="4620" y="6398"/>
                      </a:cubicBezTo>
                      <a:cubicBezTo>
                        <a:pt x="4739" y="6553"/>
                        <a:pt x="4704" y="6755"/>
                        <a:pt x="4549" y="6863"/>
                      </a:cubicBezTo>
                      <a:lnTo>
                        <a:pt x="3954" y="7303"/>
                      </a:lnTo>
                      <a:cubicBezTo>
                        <a:pt x="3898" y="7331"/>
                        <a:pt x="3829" y="7358"/>
                        <a:pt x="3767" y="7358"/>
                      </a:cubicBezTo>
                      <a:cubicBezTo>
                        <a:pt x="3749" y="7358"/>
                        <a:pt x="3732" y="7356"/>
                        <a:pt x="3715" y="7351"/>
                      </a:cubicBezTo>
                      <a:cubicBezTo>
                        <a:pt x="3620" y="7339"/>
                        <a:pt x="3549" y="7303"/>
                        <a:pt x="3513" y="7220"/>
                      </a:cubicBezTo>
                      <a:cubicBezTo>
                        <a:pt x="3406" y="7077"/>
                        <a:pt x="3430" y="6863"/>
                        <a:pt x="3584" y="6755"/>
                      </a:cubicBezTo>
                      <a:lnTo>
                        <a:pt x="4144" y="6363"/>
                      </a:lnTo>
                      <a:lnTo>
                        <a:pt x="4168" y="6339"/>
                      </a:lnTo>
                      <a:cubicBezTo>
                        <a:pt x="4226" y="6300"/>
                        <a:pt x="4292" y="6281"/>
                        <a:pt x="4359" y="6281"/>
                      </a:cubicBezTo>
                      <a:close/>
                      <a:moveTo>
                        <a:pt x="2870" y="2553"/>
                      </a:moveTo>
                      <a:lnTo>
                        <a:pt x="3156" y="2707"/>
                      </a:lnTo>
                      <a:cubicBezTo>
                        <a:pt x="3173" y="2725"/>
                        <a:pt x="3197" y="2736"/>
                        <a:pt x="3218" y="2736"/>
                      </a:cubicBezTo>
                      <a:cubicBezTo>
                        <a:pt x="3226" y="2736"/>
                        <a:pt x="3233" y="2734"/>
                        <a:pt x="3239" y="2731"/>
                      </a:cubicBezTo>
                      <a:lnTo>
                        <a:pt x="3942" y="2636"/>
                      </a:lnTo>
                      <a:lnTo>
                        <a:pt x="4192" y="2743"/>
                      </a:lnTo>
                      <a:lnTo>
                        <a:pt x="4049" y="3338"/>
                      </a:lnTo>
                      <a:lnTo>
                        <a:pt x="4049" y="3362"/>
                      </a:lnTo>
                      <a:lnTo>
                        <a:pt x="4049" y="4648"/>
                      </a:lnTo>
                      <a:cubicBezTo>
                        <a:pt x="4049" y="5077"/>
                        <a:pt x="4406" y="5434"/>
                        <a:pt x="4835" y="5434"/>
                      </a:cubicBezTo>
                      <a:cubicBezTo>
                        <a:pt x="5263" y="5434"/>
                        <a:pt x="5620" y="5077"/>
                        <a:pt x="5620" y="4648"/>
                      </a:cubicBezTo>
                      <a:lnTo>
                        <a:pt x="5620" y="3410"/>
                      </a:lnTo>
                      <a:lnTo>
                        <a:pt x="5656" y="3362"/>
                      </a:lnTo>
                      <a:lnTo>
                        <a:pt x="8776" y="5065"/>
                      </a:lnTo>
                      <a:cubicBezTo>
                        <a:pt x="8942" y="5184"/>
                        <a:pt x="9002" y="5374"/>
                        <a:pt x="8907" y="5541"/>
                      </a:cubicBezTo>
                      <a:cubicBezTo>
                        <a:pt x="8850" y="5654"/>
                        <a:pt x="8745" y="5717"/>
                        <a:pt x="8631" y="5717"/>
                      </a:cubicBezTo>
                      <a:cubicBezTo>
                        <a:pt x="8576" y="5717"/>
                        <a:pt x="8520" y="5703"/>
                        <a:pt x="8466" y="5672"/>
                      </a:cubicBezTo>
                      <a:lnTo>
                        <a:pt x="6740" y="4743"/>
                      </a:lnTo>
                      <a:cubicBezTo>
                        <a:pt x="6711" y="4727"/>
                        <a:pt x="6682" y="4719"/>
                        <a:pt x="6655" y="4719"/>
                      </a:cubicBezTo>
                      <a:cubicBezTo>
                        <a:pt x="6603" y="4719"/>
                        <a:pt x="6557" y="4748"/>
                        <a:pt x="6525" y="4803"/>
                      </a:cubicBezTo>
                      <a:cubicBezTo>
                        <a:pt x="6490" y="4874"/>
                        <a:pt x="6513" y="4958"/>
                        <a:pt x="6585" y="5005"/>
                      </a:cubicBezTo>
                      <a:lnTo>
                        <a:pt x="8037" y="5791"/>
                      </a:lnTo>
                      <a:cubicBezTo>
                        <a:pt x="8192" y="5886"/>
                        <a:pt x="8252" y="6077"/>
                        <a:pt x="8168" y="6243"/>
                      </a:cubicBezTo>
                      <a:cubicBezTo>
                        <a:pt x="8104" y="6356"/>
                        <a:pt x="7996" y="6415"/>
                        <a:pt x="7881" y="6415"/>
                      </a:cubicBezTo>
                      <a:cubicBezTo>
                        <a:pt x="7826" y="6415"/>
                        <a:pt x="7770" y="6401"/>
                        <a:pt x="7716" y="6374"/>
                      </a:cubicBezTo>
                      <a:lnTo>
                        <a:pt x="6251" y="5565"/>
                      </a:lnTo>
                      <a:cubicBezTo>
                        <a:pt x="6226" y="5554"/>
                        <a:pt x="6200" y="5548"/>
                        <a:pt x="6175" y="5548"/>
                      </a:cubicBezTo>
                      <a:cubicBezTo>
                        <a:pt x="6120" y="5548"/>
                        <a:pt x="6070" y="5575"/>
                        <a:pt x="6037" y="5624"/>
                      </a:cubicBezTo>
                      <a:cubicBezTo>
                        <a:pt x="5990" y="5708"/>
                        <a:pt x="6025" y="5791"/>
                        <a:pt x="6097" y="5839"/>
                      </a:cubicBezTo>
                      <a:lnTo>
                        <a:pt x="7287" y="6493"/>
                      </a:lnTo>
                      <a:cubicBezTo>
                        <a:pt x="7454" y="6577"/>
                        <a:pt x="7514" y="6779"/>
                        <a:pt x="7418" y="6934"/>
                      </a:cubicBezTo>
                      <a:cubicBezTo>
                        <a:pt x="7360" y="7050"/>
                        <a:pt x="7250" y="7114"/>
                        <a:pt x="7132" y="7114"/>
                      </a:cubicBezTo>
                      <a:cubicBezTo>
                        <a:pt x="7081" y="7114"/>
                        <a:pt x="7028" y="7102"/>
                        <a:pt x="6978" y="7077"/>
                      </a:cubicBezTo>
                      <a:lnTo>
                        <a:pt x="5728" y="6386"/>
                      </a:lnTo>
                      <a:cubicBezTo>
                        <a:pt x="5705" y="6371"/>
                        <a:pt x="5680" y="6365"/>
                        <a:pt x="5655" y="6365"/>
                      </a:cubicBezTo>
                      <a:cubicBezTo>
                        <a:pt x="5601" y="6365"/>
                        <a:pt x="5546" y="6397"/>
                        <a:pt x="5513" y="6446"/>
                      </a:cubicBezTo>
                      <a:cubicBezTo>
                        <a:pt x="5478" y="6517"/>
                        <a:pt x="5501" y="6613"/>
                        <a:pt x="5573" y="6660"/>
                      </a:cubicBezTo>
                      <a:lnTo>
                        <a:pt x="6549" y="7172"/>
                      </a:lnTo>
                      <a:cubicBezTo>
                        <a:pt x="6704" y="7267"/>
                        <a:pt x="6763" y="7458"/>
                        <a:pt x="6680" y="7625"/>
                      </a:cubicBezTo>
                      <a:cubicBezTo>
                        <a:pt x="6616" y="7737"/>
                        <a:pt x="6508" y="7801"/>
                        <a:pt x="6393" y="7801"/>
                      </a:cubicBezTo>
                      <a:cubicBezTo>
                        <a:pt x="6338" y="7801"/>
                        <a:pt x="6282" y="7786"/>
                        <a:pt x="6228" y="7756"/>
                      </a:cubicBezTo>
                      <a:lnTo>
                        <a:pt x="5549" y="7386"/>
                      </a:lnTo>
                      <a:cubicBezTo>
                        <a:pt x="5549" y="7255"/>
                        <a:pt x="5501" y="7101"/>
                        <a:pt x="5406" y="6994"/>
                      </a:cubicBezTo>
                      <a:cubicBezTo>
                        <a:pt x="5299" y="6851"/>
                        <a:pt x="5132" y="6755"/>
                        <a:pt x="4954" y="6744"/>
                      </a:cubicBezTo>
                      <a:lnTo>
                        <a:pt x="4954" y="6696"/>
                      </a:lnTo>
                      <a:cubicBezTo>
                        <a:pt x="4977" y="6541"/>
                        <a:pt x="4930" y="6363"/>
                        <a:pt x="4835" y="6220"/>
                      </a:cubicBezTo>
                      <a:cubicBezTo>
                        <a:pt x="4716" y="6077"/>
                        <a:pt x="4549" y="5982"/>
                        <a:pt x="4370" y="5970"/>
                      </a:cubicBezTo>
                      <a:lnTo>
                        <a:pt x="4370" y="5922"/>
                      </a:lnTo>
                      <a:cubicBezTo>
                        <a:pt x="4406" y="5767"/>
                        <a:pt x="4358" y="5589"/>
                        <a:pt x="4251" y="5446"/>
                      </a:cubicBezTo>
                      <a:cubicBezTo>
                        <a:pt x="4132" y="5303"/>
                        <a:pt x="3965" y="5208"/>
                        <a:pt x="3787" y="5196"/>
                      </a:cubicBezTo>
                      <a:lnTo>
                        <a:pt x="3787" y="5148"/>
                      </a:lnTo>
                      <a:cubicBezTo>
                        <a:pt x="3823" y="4993"/>
                        <a:pt x="3775" y="4815"/>
                        <a:pt x="3668" y="4672"/>
                      </a:cubicBezTo>
                      <a:cubicBezTo>
                        <a:pt x="3547" y="4516"/>
                        <a:pt x="3359" y="4432"/>
                        <a:pt x="3172" y="4432"/>
                      </a:cubicBezTo>
                      <a:cubicBezTo>
                        <a:pt x="3044" y="4432"/>
                        <a:pt x="2917" y="4471"/>
                        <a:pt x="2811" y="4553"/>
                      </a:cubicBezTo>
                      <a:lnTo>
                        <a:pt x="1763" y="5315"/>
                      </a:lnTo>
                      <a:lnTo>
                        <a:pt x="1394" y="5112"/>
                      </a:lnTo>
                      <a:lnTo>
                        <a:pt x="2870" y="2553"/>
                      </a:lnTo>
                      <a:close/>
                      <a:moveTo>
                        <a:pt x="4936" y="7026"/>
                      </a:moveTo>
                      <a:cubicBezTo>
                        <a:pt x="5036" y="7026"/>
                        <a:pt x="5132" y="7070"/>
                        <a:pt x="5204" y="7148"/>
                      </a:cubicBezTo>
                      <a:cubicBezTo>
                        <a:pt x="5251" y="7244"/>
                        <a:pt x="5275" y="7315"/>
                        <a:pt x="5263" y="7398"/>
                      </a:cubicBezTo>
                      <a:cubicBezTo>
                        <a:pt x="5251" y="7494"/>
                        <a:pt x="5204" y="7565"/>
                        <a:pt x="5132" y="7625"/>
                      </a:cubicBezTo>
                      <a:lnTo>
                        <a:pt x="4787" y="7875"/>
                      </a:lnTo>
                      <a:cubicBezTo>
                        <a:pt x="4729" y="7918"/>
                        <a:pt x="4658" y="7940"/>
                        <a:pt x="4588" y="7940"/>
                      </a:cubicBezTo>
                      <a:cubicBezTo>
                        <a:pt x="4487" y="7940"/>
                        <a:pt x="4386" y="7895"/>
                        <a:pt x="4323" y="7803"/>
                      </a:cubicBezTo>
                      <a:cubicBezTo>
                        <a:pt x="4215" y="7660"/>
                        <a:pt x="4251" y="7446"/>
                        <a:pt x="4406" y="7339"/>
                      </a:cubicBezTo>
                      <a:lnTo>
                        <a:pt x="4727" y="7101"/>
                      </a:lnTo>
                      <a:lnTo>
                        <a:pt x="4739" y="7089"/>
                      </a:lnTo>
                      <a:cubicBezTo>
                        <a:pt x="4802" y="7046"/>
                        <a:pt x="4870" y="7026"/>
                        <a:pt x="4936" y="7026"/>
                      </a:cubicBezTo>
                      <a:close/>
                      <a:moveTo>
                        <a:pt x="180" y="0"/>
                      </a:moveTo>
                      <a:cubicBezTo>
                        <a:pt x="125" y="0"/>
                        <a:pt x="69" y="27"/>
                        <a:pt x="36" y="76"/>
                      </a:cubicBezTo>
                      <a:cubicBezTo>
                        <a:pt x="1" y="159"/>
                        <a:pt x="24" y="243"/>
                        <a:pt x="96" y="290"/>
                      </a:cubicBezTo>
                      <a:lnTo>
                        <a:pt x="2382" y="1600"/>
                      </a:lnTo>
                      <a:lnTo>
                        <a:pt x="405" y="5005"/>
                      </a:lnTo>
                      <a:lnTo>
                        <a:pt x="251" y="4922"/>
                      </a:lnTo>
                      <a:cubicBezTo>
                        <a:pt x="221" y="4905"/>
                        <a:pt x="192" y="4897"/>
                        <a:pt x="164" y="4897"/>
                      </a:cubicBezTo>
                      <a:cubicBezTo>
                        <a:pt x="113" y="4897"/>
                        <a:pt x="67" y="4923"/>
                        <a:pt x="36" y="4969"/>
                      </a:cubicBezTo>
                      <a:cubicBezTo>
                        <a:pt x="1" y="5053"/>
                        <a:pt x="24" y="5136"/>
                        <a:pt x="96" y="5184"/>
                      </a:cubicBezTo>
                      <a:lnTo>
                        <a:pt x="882" y="5648"/>
                      </a:lnTo>
                      <a:cubicBezTo>
                        <a:pt x="908" y="5663"/>
                        <a:pt x="934" y="5670"/>
                        <a:pt x="959" y="5670"/>
                      </a:cubicBezTo>
                      <a:cubicBezTo>
                        <a:pt x="1014" y="5670"/>
                        <a:pt x="1063" y="5638"/>
                        <a:pt x="1096" y="5589"/>
                      </a:cubicBezTo>
                      <a:lnTo>
                        <a:pt x="1215" y="5398"/>
                      </a:lnTo>
                      <a:lnTo>
                        <a:pt x="1537" y="5565"/>
                      </a:lnTo>
                      <a:cubicBezTo>
                        <a:pt x="1441" y="5779"/>
                        <a:pt x="1453" y="6029"/>
                        <a:pt x="1584" y="6220"/>
                      </a:cubicBezTo>
                      <a:cubicBezTo>
                        <a:pt x="1703" y="6386"/>
                        <a:pt x="1894" y="6482"/>
                        <a:pt x="2096" y="6482"/>
                      </a:cubicBezTo>
                      <a:cubicBezTo>
                        <a:pt x="2156" y="6482"/>
                        <a:pt x="2227" y="6458"/>
                        <a:pt x="2287" y="6446"/>
                      </a:cubicBezTo>
                      <a:cubicBezTo>
                        <a:pt x="2287" y="6577"/>
                        <a:pt x="2334" y="6720"/>
                        <a:pt x="2406" y="6815"/>
                      </a:cubicBezTo>
                      <a:cubicBezTo>
                        <a:pt x="2525" y="6982"/>
                        <a:pt x="2715" y="7077"/>
                        <a:pt x="2906" y="7077"/>
                      </a:cubicBezTo>
                      <a:cubicBezTo>
                        <a:pt x="2965" y="7077"/>
                        <a:pt x="3049" y="7053"/>
                        <a:pt x="3108" y="7041"/>
                      </a:cubicBezTo>
                      <a:cubicBezTo>
                        <a:pt x="3108" y="7160"/>
                        <a:pt x="3144" y="7291"/>
                        <a:pt x="3227" y="7398"/>
                      </a:cubicBezTo>
                      <a:cubicBezTo>
                        <a:pt x="3323" y="7529"/>
                        <a:pt x="3465" y="7625"/>
                        <a:pt x="3644" y="7648"/>
                      </a:cubicBezTo>
                      <a:cubicBezTo>
                        <a:pt x="3668" y="7648"/>
                        <a:pt x="3715" y="7672"/>
                        <a:pt x="3739" y="7672"/>
                      </a:cubicBezTo>
                      <a:cubicBezTo>
                        <a:pt x="3799" y="7672"/>
                        <a:pt x="3882" y="7648"/>
                        <a:pt x="3942" y="7636"/>
                      </a:cubicBezTo>
                      <a:cubicBezTo>
                        <a:pt x="3942" y="7767"/>
                        <a:pt x="3977" y="7886"/>
                        <a:pt x="4061" y="7994"/>
                      </a:cubicBezTo>
                      <a:cubicBezTo>
                        <a:pt x="4156" y="8125"/>
                        <a:pt x="4299" y="8220"/>
                        <a:pt x="4477" y="8244"/>
                      </a:cubicBezTo>
                      <a:cubicBezTo>
                        <a:pt x="4501" y="8244"/>
                        <a:pt x="4549" y="8267"/>
                        <a:pt x="4573" y="8267"/>
                      </a:cubicBezTo>
                      <a:cubicBezTo>
                        <a:pt x="4716" y="8267"/>
                        <a:pt x="4835" y="8220"/>
                        <a:pt x="4954" y="8148"/>
                      </a:cubicBezTo>
                      <a:lnTo>
                        <a:pt x="5287" y="7886"/>
                      </a:lnTo>
                      <a:cubicBezTo>
                        <a:pt x="5370" y="7827"/>
                        <a:pt x="5430" y="7767"/>
                        <a:pt x="5466" y="7684"/>
                      </a:cubicBezTo>
                      <a:lnTo>
                        <a:pt x="6085" y="8029"/>
                      </a:lnTo>
                      <a:cubicBezTo>
                        <a:pt x="6168" y="8077"/>
                        <a:pt x="6275" y="8101"/>
                        <a:pt x="6382" y="8101"/>
                      </a:cubicBezTo>
                      <a:cubicBezTo>
                        <a:pt x="6442" y="8101"/>
                        <a:pt x="6501" y="8089"/>
                        <a:pt x="6561" y="8077"/>
                      </a:cubicBezTo>
                      <a:cubicBezTo>
                        <a:pt x="6716" y="8029"/>
                        <a:pt x="6859" y="7922"/>
                        <a:pt x="6930" y="7779"/>
                      </a:cubicBezTo>
                      <a:cubicBezTo>
                        <a:pt x="6990" y="7648"/>
                        <a:pt x="7013" y="7529"/>
                        <a:pt x="7002" y="7398"/>
                      </a:cubicBezTo>
                      <a:cubicBezTo>
                        <a:pt x="7049" y="7398"/>
                        <a:pt x="7073" y="7422"/>
                        <a:pt x="7121" y="7422"/>
                      </a:cubicBezTo>
                      <a:cubicBezTo>
                        <a:pt x="7347" y="7422"/>
                        <a:pt x="7573" y="7303"/>
                        <a:pt x="7668" y="7089"/>
                      </a:cubicBezTo>
                      <a:cubicBezTo>
                        <a:pt x="7728" y="6970"/>
                        <a:pt x="7764" y="6839"/>
                        <a:pt x="7752" y="6720"/>
                      </a:cubicBezTo>
                      <a:cubicBezTo>
                        <a:pt x="7787" y="6720"/>
                        <a:pt x="7823" y="6732"/>
                        <a:pt x="7871" y="6732"/>
                      </a:cubicBezTo>
                      <a:cubicBezTo>
                        <a:pt x="8085" y="6732"/>
                        <a:pt x="8311" y="6613"/>
                        <a:pt x="8418" y="6410"/>
                      </a:cubicBezTo>
                      <a:cubicBezTo>
                        <a:pt x="8478" y="6291"/>
                        <a:pt x="8502" y="6172"/>
                        <a:pt x="8490" y="6029"/>
                      </a:cubicBezTo>
                      <a:cubicBezTo>
                        <a:pt x="8537" y="6029"/>
                        <a:pt x="8561" y="6053"/>
                        <a:pt x="8609" y="6053"/>
                      </a:cubicBezTo>
                      <a:cubicBezTo>
                        <a:pt x="8668" y="6053"/>
                        <a:pt x="8728" y="6029"/>
                        <a:pt x="8787" y="6017"/>
                      </a:cubicBezTo>
                      <a:cubicBezTo>
                        <a:pt x="8954" y="5970"/>
                        <a:pt x="9085" y="5874"/>
                        <a:pt x="9157" y="5720"/>
                      </a:cubicBezTo>
                      <a:cubicBezTo>
                        <a:pt x="9240" y="5577"/>
                        <a:pt x="9264" y="5410"/>
                        <a:pt x="9204" y="5243"/>
                      </a:cubicBezTo>
                      <a:cubicBezTo>
                        <a:pt x="9192" y="5196"/>
                        <a:pt x="9180" y="5172"/>
                        <a:pt x="9157" y="5136"/>
                      </a:cubicBezTo>
                      <a:lnTo>
                        <a:pt x="9430" y="4946"/>
                      </a:lnTo>
                      <a:lnTo>
                        <a:pt x="9561" y="5124"/>
                      </a:lnTo>
                      <a:cubicBezTo>
                        <a:pt x="9591" y="5161"/>
                        <a:pt x="9644" y="5180"/>
                        <a:pt x="9694" y="5180"/>
                      </a:cubicBezTo>
                      <a:cubicBezTo>
                        <a:pt x="9724" y="5180"/>
                        <a:pt x="9753" y="5173"/>
                        <a:pt x="9776" y="5160"/>
                      </a:cubicBezTo>
                      <a:lnTo>
                        <a:pt x="10192" y="4827"/>
                      </a:lnTo>
                      <a:cubicBezTo>
                        <a:pt x="10264" y="4743"/>
                        <a:pt x="10276" y="4648"/>
                        <a:pt x="10240" y="4577"/>
                      </a:cubicBezTo>
                      <a:cubicBezTo>
                        <a:pt x="10210" y="4539"/>
                        <a:pt x="10157" y="4521"/>
                        <a:pt x="10107" y="4521"/>
                      </a:cubicBezTo>
                      <a:cubicBezTo>
                        <a:pt x="10077" y="4521"/>
                        <a:pt x="10048" y="4527"/>
                        <a:pt x="10026" y="4541"/>
                      </a:cubicBezTo>
                      <a:lnTo>
                        <a:pt x="9728" y="4779"/>
                      </a:lnTo>
                      <a:lnTo>
                        <a:pt x="7347" y="1671"/>
                      </a:lnTo>
                      <a:lnTo>
                        <a:pt x="8704" y="790"/>
                      </a:lnTo>
                      <a:cubicBezTo>
                        <a:pt x="8776" y="755"/>
                        <a:pt x="8787" y="659"/>
                        <a:pt x="8752" y="588"/>
                      </a:cubicBezTo>
                      <a:cubicBezTo>
                        <a:pt x="8721" y="542"/>
                        <a:pt x="8670" y="516"/>
                        <a:pt x="8619" y="516"/>
                      </a:cubicBezTo>
                      <a:cubicBezTo>
                        <a:pt x="8591" y="516"/>
                        <a:pt x="8563" y="523"/>
                        <a:pt x="8537" y="540"/>
                      </a:cubicBezTo>
                      <a:lnTo>
                        <a:pt x="7049" y="1493"/>
                      </a:lnTo>
                      <a:cubicBezTo>
                        <a:pt x="6978" y="1540"/>
                        <a:pt x="6966" y="1648"/>
                        <a:pt x="7002" y="1719"/>
                      </a:cubicBezTo>
                      <a:lnTo>
                        <a:pt x="7275" y="2076"/>
                      </a:lnTo>
                      <a:lnTo>
                        <a:pt x="7085" y="2219"/>
                      </a:lnTo>
                      <a:lnTo>
                        <a:pt x="6311" y="1969"/>
                      </a:lnTo>
                      <a:cubicBezTo>
                        <a:pt x="6287" y="1969"/>
                        <a:pt x="6275" y="1957"/>
                        <a:pt x="6263" y="1957"/>
                      </a:cubicBezTo>
                      <a:lnTo>
                        <a:pt x="4501" y="1957"/>
                      </a:lnTo>
                      <a:cubicBezTo>
                        <a:pt x="4430" y="1957"/>
                        <a:pt x="4370" y="2005"/>
                        <a:pt x="4358" y="2076"/>
                      </a:cubicBezTo>
                      <a:lnTo>
                        <a:pt x="4251" y="2481"/>
                      </a:lnTo>
                      <a:lnTo>
                        <a:pt x="4001" y="2374"/>
                      </a:lnTo>
                      <a:cubicBezTo>
                        <a:pt x="3965" y="2362"/>
                        <a:pt x="3954" y="2362"/>
                        <a:pt x="3930" y="2362"/>
                      </a:cubicBezTo>
                      <a:lnTo>
                        <a:pt x="3227" y="2433"/>
                      </a:lnTo>
                      <a:lnTo>
                        <a:pt x="2989" y="2302"/>
                      </a:lnTo>
                      <a:lnTo>
                        <a:pt x="3215" y="1910"/>
                      </a:lnTo>
                      <a:cubicBezTo>
                        <a:pt x="3251" y="1838"/>
                        <a:pt x="3227" y="1743"/>
                        <a:pt x="3156" y="1707"/>
                      </a:cubicBezTo>
                      <a:lnTo>
                        <a:pt x="251" y="16"/>
                      </a:lnTo>
                      <a:cubicBezTo>
                        <a:pt x="229" y="5"/>
                        <a:pt x="204" y="0"/>
                        <a:pt x="18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24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oogle Shape;13586;p63">
                  <a:extLst>
                    <a:ext uri="{FF2B5EF4-FFF2-40B4-BE49-F238E27FC236}">
                      <a16:creationId xmlns:a16="http://schemas.microsoft.com/office/drawing/2014/main" id="{62C0D0B3-8E77-43FC-913F-D38F912754AE}"/>
                    </a:ext>
                  </a:extLst>
                </p:cNvPr>
                <p:cNvSpPr/>
                <p:nvPr/>
              </p:nvSpPr>
              <p:spPr>
                <a:xfrm>
                  <a:off x="4079948" y="2679504"/>
                  <a:ext cx="49569" cy="359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8" h="847" extrusionOk="0">
                      <a:moveTo>
                        <a:pt x="999" y="0"/>
                      </a:moveTo>
                      <a:cubicBezTo>
                        <a:pt x="971" y="0"/>
                        <a:pt x="943" y="8"/>
                        <a:pt x="918" y="25"/>
                      </a:cubicBezTo>
                      <a:lnTo>
                        <a:pt x="84" y="561"/>
                      </a:lnTo>
                      <a:cubicBezTo>
                        <a:pt x="13" y="608"/>
                        <a:pt x="1" y="692"/>
                        <a:pt x="37" y="775"/>
                      </a:cubicBezTo>
                      <a:cubicBezTo>
                        <a:pt x="72" y="811"/>
                        <a:pt x="120" y="846"/>
                        <a:pt x="156" y="846"/>
                      </a:cubicBezTo>
                      <a:cubicBezTo>
                        <a:pt x="191" y="846"/>
                        <a:pt x="215" y="823"/>
                        <a:pt x="239" y="811"/>
                      </a:cubicBezTo>
                      <a:lnTo>
                        <a:pt x="1073" y="275"/>
                      </a:lnTo>
                      <a:cubicBezTo>
                        <a:pt x="1156" y="239"/>
                        <a:pt x="1168" y="144"/>
                        <a:pt x="1132" y="72"/>
                      </a:cubicBezTo>
                      <a:cubicBezTo>
                        <a:pt x="1101" y="26"/>
                        <a:pt x="1051" y="0"/>
                        <a:pt x="99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AU" sz="2400" b="0" i="0" u="none" strike="noStrike" kern="120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C99158F-28F3-4A46-A620-3DECF036A48F}"/>
              </a:ext>
            </a:extLst>
          </p:cNvPr>
          <p:cNvGrpSpPr/>
          <p:nvPr/>
        </p:nvGrpSpPr>
        <p:grpSpPr>
          <a:xfrm>
            <a:off x="4005013" y="2016421"/>
            <a:ext cx="289650" cy="257508"/>
            <a:chOff x="3843088" y="2151476"/>
            <a:chExt cx="403950" cy="36830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EFE3F3-77AA-4812-BD42-5076BD014317}"/>
                </a:ext>
              </a:extLst>
            </p:cNvPr>
            <p:cNvSpPr>
              <a:spLocks/>
            </p:cNvSpPr>
            <p:nvPr/>
          </p:nvSpPr>
          <p:spPr>
            <a:xfrm>
              <a:off x="3843088" y="2151476"/>
              <a:ext cx="403950" cy="3683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9902;p57">
              <a:extLst>
                <a:ext uri="{FF2B5EF4-FFF2-40B4-BE49-F238E27FC236}">
                  <a16:creationId xmlns:a16="http://schemas.microsoft.com/office/drawing/2014/main" id="{4E678130-718C-4CDF-A7B7-3F35363803C5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19085" y="2209674"/>
              <a:ext cx="252002" cy="252006"/>
              <a:chOff x="4126815" y="2760704"/>
              <a:chExt cx="380393" cy="363118"/>
            </a:xfrm>
            <a:solidFill>
              <a:schemeClr val="bg1"/>
            </a:solidFill>
          </p:grpSpPr>
          <p:sp>
            <p:nvSpPr>
              <p:cNvPr id="75" name="Google Shape;9903;p57">
                <a:extLst>
                  <a:ext uri="{FF2B5EF4-FFF2-40B4-BE49-F238E27FC236}">
                    <a16:creationId xmlns:a16="http://schemas.microsoft.com/office/drawing/2014/main" id="{547B6BAB-5CA4-464B-A05E-16C34AE4FDF0}"/>
                  </a:ext>
                </a:extLst>
              </p:cNvPr>
              <p:cNvSpPr/>
              <p:nvPr/>
            </p:nvSpPr>
            <p:spPr>
              <a:xfrm>
                <a:off x="4219825" y="2822435"/>
                <a:ext cx="103267" cy="29056"/>
              </a:xfrm>
              <a:custGeom>
                <a:avLst/>
                <a:gdLst/>
                <a:ahLst/>
                <a:cxnLst/>
                <a:rect l="l" t="t" r="r" b="b"/>
                <a:pathLst>
                  <a:path w="3252" h="915" extrusionOk="0">
                    <a:moveTo>
                      <a:pt x="1620" y="0"/>
                    </a:moveTo>
                    <a:cubicBezTo>
                      <a:pt x="1025" y="0"/>
                      <a:pt x="477" y="215"/>
                      <a:pt x="60" y="631"/>
                    </a:cubicBezTo>
                    <a:cubicBezTo>
                      <a:pt x="1" y="691"/>
                      <a:pt x="1" y="810"/>
                      <a:pt x="60" y="869"/>
                    </a:cubicBezTo>
                    <a:cubicBezTo>
                      <a:pt x="90" y="899"/>
                      <a:pt x="132" y="914"/>
                      <a:pt x="175" y="914"/>
                    </a:cubicBezTo>
                    <a:cubicBezTo>
                      <a:pt x="218" y="914"/>
                      <a:pt x="263" y="899"/>
                      <a:pt x="298" y="869"/>
                    </a:cubicBezTo>
                    <a:cubicBezTo>
                      <a:pt x="656" y="512"/>
                      <a:pt x="1120" y="322"/>
                      <a:pt x="1620" y="322"/>
                    </a:cubicBezTo>
                    <a:cubicBezTo>
                      <a:pt x="2132" y="322"/>
                      <a:pt x="2596" y="512"/>
                      <a:pt x="2953" y="869"/>
                    </a:cubicBezTo>
                    <a:cubicBezTo>
                      <a:pt x="2983" y="899"/>
                      <a:pt x="3028" y="914"/>
                      <a:pt x="3073" y="914"/>
                    </a:cubicBezTo>
                    <a:cubicBezTo>
                      <a:pt x="3117" y="914"/>
                      <a:pt x="3162" y="899"/>
                      <a:pt x="3192" y="869"/>
                    </a:cubicBezTo>
                    <a:cubicBezTo>
                      <a:pt x="3251" y="810"/>
                      <a:pt x="3251" y="691"/>
                      <a:pt x="3192" y="631"/>
                    </a:cubicBezTo>
                    <a:cubicBezTo>
                      <a:pt x="2775" y="215"/>
                      <a:pt x="2215" y="0"/>
                      <a:pt x="1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Google Shape;9904;p57">
                <a:extLst>
                  <a:ext uri="{FF2B5EF4-FFF2-40B4-BE49-F238E27FC236}">
                    <a16:creationId xmlns:a16="http://schemas.microsoft.com/office/drawing/2014/main" id="{CB7B676A-B4A1-4CC0-885C-B1414DA479E7}"/>
                  </a:ext>
                </a:extLst>
              </p:cNvPr>
              <p:cNvSpPr/>
              <p:nvPr/>
            </p:nvSpPr>
            <p:spPr>
              <a:xfrm>
                <a:off x="4126815" y="2760704"/>
                <a:ext cx="380393" cy="363118"/>
              </a:xfrm>
              <a:custGeom>
                <a:avLst/>
                <a:gdLst/>
                <a:ahLst/>
                <a:cxnLst/>
                <a:rect l="l" t="t" r="r" b="b"/>
                <a:pathLst>
                  <a:path w="11979" h="11435" extrusionOk="0">
                    <a:moveTo>
                      <a:pt x="7621" y="6921"/>
                    </a:moveTo>
                    <a:lnTo>
                      <a:pt x="8061" y="7373"/>
                    </a:lnTo>
                    <a:lnTo>
                      <a:pt x="7787" y="7659"/>
                    </a:lnTo>
                    <a:lnTo>
                      <a:pt x="7335" y="7207"/>
                    </a:lnTo>
                    <a:cubicBezTo>
                      <a:pt x="7442" y="7123"/>
                      <a:pt x="7526" y="7016"/>
                      <a:pt x="7621" y="6921"/>
                    </a:cubicBezTo>
                    <a:close/>
                    <a:moveTo>
                      <a:pt x="4552" y="328"/>
                    </a:moveTo>
                    <a:cubicBezTo>
                      <a:pt x="5525" y="328"/>
                      <a:pt x="6496" y="700"/>
                      <a:pt x="7228" y="1444"/>
                    </a:cubicBezTo>
                    <a:cubicBezTo>
                      <a:pt x="8645" y="2861"/>
                      <a:pt x="8704" y="5076"/>
                      <a:pt x="7466" y="6564"/>
                    </a:cubicBezTo>
                    <a:cubicBezTo>
                      <a:pt x="7311" y="6766"/>
                      <a:pt x="7156" y="6909"/>
                      <a:pt x="6978" y="7064"/>
                    </a:cubicBezTo>
                    <a:cubicBezTo>
                      <a:pt x="6279" y="7651"/>
                      <a:pt x="5417" y="7944"/>
                      <a:pt x="4554" y="7944"/>
                    </a:cubicBezTo>
                    <a:cubicBezTo>
                      <a:pt x="3579" y="7944"/>
                      <a:pt x="2603" y="7571"/>
                      <a:pt x="1858" y="6826"/>
                    </a:cubicBezTo>
                    <a:cubicBezTo>
                      <a:pt x="370" y="5338"/>
                      <a:pt x="370" y="2921"/>
                      <a:pt x="1858" y="1444"/>
                    </a:cubicBezTo>
                    <a:cubicBezTo>
                      <a:pt x="2602" y="700"/>
                      <a:pt x="3579" y="328"/>
                      <a:pt x="4552" y="328"/>
                    </a:cubicBezTo>
                    <a:close/>
                    <a:moveTo>
                      <a:pt x="8518" y="7440"/>
                    </a:moveTo>
                    <a:cubicBezTo>
                      <a:pt x="8550" y="7440"/>
                      <a:pt x="8580" y="7453"/>
                      <a:pt x="8597" y="7481"/>
                    </a:cubicBezTo>
                    <a:lnTo>
                      <a:pt x="9061" y="7897"/>
                    </a:lnTo>
                    <a:lnTo>
                      <a:pt x="8276" y="8683"/>
                    </a:lnTo>
                    <a:lnTo>
                      <a:pt x="7883" y="8195"/>
                    </a:lnTo>
                    <a:cubicBezTo>
                      <a:pt x="7847" y="8135"/>
                      <a:pt x="7847" y="8052"/>
                      <a:pt x="7883" y="8016"/>
                    </a:cubicBezTo>
                    <a:lnTo>
                      <a:pt x="8418" y="7481"/>
                    </a:lnTo>
                    <a:cubicBezTo>
                      <a:pt x="8444" y="7456"/>
                      <a:pt x="8482" y="7440"/>
                      <a:pt x="8518" y="7440"/>
                    </a:cubicBezTo>
                    <a:close/>
                    <a:moveTo>
                      <a:pt x="9335" y="8100"/>
                    </a:moveTo>
                    <a:lnTo>
                      <a:pt x="11252" y="9779"/>
                    </a:lnTo>
                    <a:cubicBezTo>
                      <a:pt x="11574" y="10064"/>
                      <a:pt x="11597" y="10576"/>
                      <a:pt x="11276" y="10886"/>
                    </a:cubicBezTo>
                    <a:cubicBezTo>
                      <a:pt x="11128" y="11033"/>
                      <a:pt x="10940" y="11105"/>
                      <a:pt x="10752" y="11105"/>
                    </a:cubicBezTo>
                    <a:cubicBezTo>
                      <a:pt x="10544" y="11105"/>
                      <a:pt x="10336" y="11018"/>
                      <a:pt x="10181" y="10850"/>
                    </a:cubicBezTo>
                    <a:lnTo>
                      <a:pt x="8514" y="8921"/>
                    </a:lnTo>
                    <a:lnTo>
                      <a:pt x="9335" y="8100"/>
                    </a:lnTo>
                    <a:close/>
                    <a:moveTo>
                      <a:pt x="4543" y="1"/>
                    </a:moveTo>
                    <a:cubicBezTo>
                      <a:pt x="3483" y="1"/>
                      <a:pt x="2424" y="402"/>
                      <a:pt x="1620" y="1206"/>
                    </a:cubicBezTo>
                    <a:cubicBezTo>
                      <a:pt x="1" y="2837"/>
                      <a:pt x="1" y="5457"/>
                      <a:pt x="1620" y="7064"/>
                    </a:cubicBezTo>
                    <a:cubicBezTo>
                      <a:pt x="2431" y="7875"/>
                      <a:pt x="3489" y="8272"/>
                      <a:pt x="4543" y="8272"/>
                    </a:cubicBezTo>
                    <a:cubicBezTo>
                      <a:pt x="5440" y="8272"/>
                      <a:pt x="6334" y="7985"/>
                      <a:pt x="7073" y="7421"/>
                    </a:cubicBezTo>
                    <a:lnTo>
                      <a:pt x="7561" y="7909"/>
                    </a:lnTo>
                    <a:cubicBezTo>
                      <a:pt x="7490" y="8076"/>
                      <a:pt x="7502" y="8278"/>
                      <a:pt x="7633" y="8409"/>
                    </a:cubicBezTo>
                    <a:lnTo>
                      <a:pt x="9954" y="11064"/>
                    </a:lnTo>
                    <a:cubicBezTo>
                      <a:pt x="10171" y="11312"/>
                      <a:pt x="10471" y="11434"/>
                      <a:pt x="10771" y="11434"/>
                    </a:cubicBezTo>
                    <a:cubicBezTo>
                      <a:pt x="11049" y="11434"/>
                      <a:pt x="11326" y="11330"/>
                      <a:pt x="11538" y="11124"/>
                    </a:cubicBezTo>
                    <a:cubicBezTo>
                      <a:pt x="11978" y="10671"/>
                      <a:pt x="11955" y="9945"/>
                      <a:pt x="11478" y="9540"/>
                    </a:cubicBezTo>
                    <a:lnTo>
                      <a:pt x="8823" y="7219"/>
                    </a:lnTo>
                    <a:cubicBezTo>
                      <a:pt x="8737" y="7139"/>
                      <a:pt x="8629" y="7104"/>
                      <a:pt x="8522" y="7104"/>
                    </a:cubicBezTo>
                    <a:cubicBezTo>
                      <a:pt x="8453" y="7104"/>
                      <a:pt x="8384" y="7119"/>
                      <a:pt x="8323" y="7147"/>
                    </a:cubicBezTo>
                    <a:lnTo>
                      <a:pt x="7823" y="6659"/>
                    </a:lnTo>
                    <a:cubicBezTo>
                      <a:pt x="9073" y="5052"/>
                      <a:pt x="8978" y="2694"/>
                      <a:pt x="7466" y="1206"/>
                    </a:cubicBezTo>
                    <a:cubicBezTo>
                      <a:pt x="6662" y="402"/>
                      <a:pt x="5603" y="1"/>
                      <a:pt x="45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Google Shape;9905;p57">
                <a:extLst>
                  <a:ext uri="{FF2B5EF4-FFF2-40B4-BE49-F238E27FC236}">
                    <a16:creationId xmlns:a16="http://schemas.microsoft.com/office/drawing/2014/main" id="{FB3FED87-D208-42E1-9BEC-5D720774ADEF}"/>
                  </a:ext>
                </a:extLst>
              </p:cNvPr>
              <p:cNvSpPr/>
              <p:nvPr/>
            </p:nvSpPr>
            <p:spPr>
              <a:xfrm>
                <a:off x="4278826" y="2791379"/>
                <a:ext cx="103998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275" h="6360" extrusionOk="0">
                    <a:moveTo>
                      <a:pt x="191" y="0"/>
                    </a:moveTo>
                    <a:cubicBezTo>
                      <a:pt x="106" y="0"/>
                      <a:pt x="35" y="59"/>
                      <a:pt x="24" y="157"/>
                    </a:cubicBezTo>
                    <a:cubicBezTo>
                      <a:pt x="0" y="264"/>
                      <a:pt x="60" y="335"/>
                      <a:pt x="167" y="347"/>
                    </a:cubicBezTo>
                    <a:cubicBezTo>
                      <a:pt x="798" y="442"/>
                      <a:pt x="1345" y="716"/>
                      <a:pt x="1786" y="1169"/>
                    </a:cubicBezTo>
                    <a:cubicBezTo>
                      <a:pt x="2905" y="2288"/>
                      <a:pt x="2905" y="4110"/>
                      <a:pt x="1786" y="5229"/>
                    </a:cubicBezTo>
                    <a:cubicBezTo>
                      <a:pt x="1345" y="5645"/>
                      <a:pt x="774" y="5931"/>
                      <a:pt x="167" y="6015"/>
                    </a:cubicBezTo>
                    <a:cubicBezTo>
                      <a:pt x="83" y="6038"/>
                      <a:pt x="24" y="6122"/>
                      <a:pt x="24" y="6217"/>
                    </a:cubicBezTo>
                    <a:cubicBezTo>
                      <a:pt x="36" y="6300"/>
                      <a:pt x="107" y="6360"/>
                      <a:pt x="179" y="6360"/>
                    </a:cubicBezTo>
                    <a:lnTo>
                      <a:pt x="214" y="6360"/>
                    </a:lnTo>
                    <a:cubicBezTo>
                      <a:pt x="917" y="6253"/>
                      <a:pt x="1536" y="5943"/>
                      <a:pt x="2024" y="5455"/>
                    </a:cubicBezTo>
                    <a:cubicBezTo>
                      <a:pt x="3274" y="4205"/>
                      <a:pt x="3274" y="2169"/>
                      <a:pt x="2024" y="919"/>
                    </a:cubicBezTo>
                    <a:cubicBezTo>
                      <a:pt x="1536" y="419"/>
                      <a:pt x="917" y="109"/>
                      <a:pt x="214" y="2"/>
                    </a:cubicBezTo>
                    <a:cubicBezTo>
                      <a:pt x="206" y="1"/>
                      <a:pt x="198" y="0"/>
                      <a:pt x="1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Google Shape;9906;p57">
                <a:extLst>
                  <a:ext uri="{FF2B5EF4-FFF2-40B4-BE49-F238E27FC236}">
                    <a16:creationId xmlns:a16="http://schemas.microsoft.com/office/drawing/2014/main" id="{B118434F-CF5B-4FB4-A093-1C2C1F276A15}"/>
                  </a:ext>
                </a:extLst>
              </p:cNvPr>
              <p:cNvSpPr/>
              <p:nvPr/>
            </p:nvSpPr>
            <p:spPr>
              <a:xfrm>
                <a:off x="4159332" y="2791379"/>
                <a:ext cx="105903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360" extrusionOk="0">
                    <a:moveTo>
                      <a:pt x="3162" y="1"/>
                    </a:moveTo>
                    <a:cubicBezTo>
                      <a:pt x="3156" y="1"/>
                      <a:pt x="3150" y="1"/>
                      <a:pt x="3144" y="2"/>
                    </a:cubicBezTo>
                    <a:cubicBezTo>
                      <a:pt x="2430" y="61"/>
                      <a:pt x="1775" y="383"/>
                      <a:pt x="1251" y="895"/>
                    </a:cubicBezTo>
                    <a:cubicBezTo>
                      <a:pt x="1" y="2145"/>
                      <a:pt x="1" y="4193"/>
                      <a:pt x="1251" y="5443"/>
                    </a:cubicBezTo>
                    <a:cubicBezTo>
                      <a:pt x="1775" y="5955"/>
                      <a:pt x="2430" y="6277"/>
                      <a:pt x="3144" y="6360"/>
                    </a:cubicBezTo>
                    <a:lnTo>
                      <a:pt x="3156" y="6360"/>
                    </a:lnTo>
                    <a:cubicBezTo>
                      <a:pt x="3251" y="6360"/>
                      <a:pt x="3311" y="6300"/>
                      <a:pt x="3323" y="6217"/>
                    </a:cubicBezTo>
                    <a:cubicBezTo>
                      <a:pt x="3334" y="6122"/>
                      <a:pt x="3263" y="6038"/>
                      <a:pt x="3168" y="6038"/>
                    </a:cubicBezTo>
                    <a:cubicBezTo>
                      <a:pt x="2537" y="5955"/>
                      <a:pt x="1941" y="5681"/>
                      <a:pt x="1477" y="5217"/>
                    </a:cubicBezTo>
                    <a:cubicBezTo>
                      <a:pt x="358" y="4098"/>
                      <a:pt x="358" y="2264"/>
                      <a:pt x="1477" y="1157"/>
                    </a:cubicBezTo>
                    <a:cubicBezTo>
                      <a:pt x="1941" y="692"/>
                      <a:pt x="2513" y="407"/>
                      <a:pt x="3168" y="335"/>
                    </a:cubicBezTo>
                    <a:cubicBezTo>
                      <a:pt x="3263" y="311"/>
                      <a:pt x="3334" y="240"/>
                      <a:pt x="3323" y="157"/>
                    </a:cubicBezTo>
                    <a:cubicBezTo>
                      <a:pt x="3312" y="68"/>
                      <a:pt x="3239" y="1"/>
                      <a:pt x="316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25AB410E-9F14-4018-BE4E-BE8D74F1ADCB}"/>
              </a:ext>
            </a:extLst>
          </p:cNvPr>
          <p:cNvGrpSpPr/>
          <p:nvPr/>
        </p:nvGrpSpPr>
        <p:grpSpPr>
          <a:xfrm>
            <a:off x="7908295" y="1994423"/>
            <a:ext cx="3312000" cy="3314552"/>
            <a:chOff x="603685" y="1651114"/>
            <a:chExt cx="6012002" cy="1856882"/>
          </a:xfrm>
        </p:grpSpPr>
        <p:sp>
          <p:nvSpPr>
            <p:cNvPr id="80" name="TextBox 4">
              <a:extLst>
                <a:ext uri="{FF2B5EF4-FFF2-40B4-BE49-F238E27FC236}">
                  <a16:creationId xmlns:a16="http://schemas.microsoft.com/office/drawing/2014/main" id="{B4198084-010D-43B5-90F8-2A23352817B2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03685" y="1651114"/>
              <a:ext cx="6012000" cy="18568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rget state components addressed</a:t>
              </a:r>
            </a:p>
            <a:p>
              <a:pPr marL="180000" marR="0" lvl="0" indent="-18000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ndardised and automated correspondence</a:t>
              </a:r>
            </a:p>
            <a:p>
              <a:pPr marL="180000" marR="0" lvl="0" indent="-18000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ear and consistent frameworks applied to assess regulatory risk</a:t>
              </a:r>
            </a:p>
            <a:p>
              <a:pPr marL="180000" marR="0" lvl="0" indent="-18000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cesses owned by functions</a:t>
              </a:r>
            </a:p>
            <a:p>
              <a:pPr marL="180000" marR="0" lvl="0" indent="-180000" algn="l" defTabSz="27000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AU" sz="1000" b="0" i="0" u="none" strike="noStrike" kern="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tomation of simple and repetitive processes</a:t>
              </a:r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910D9B8-E925-4CCE-8FE4-A614126827F0}"/>
                </a:ext>
              </a:extLst>
            </p:cNvPr>
            <p:cNvCxnSpPr>
              <a:cxnSpLocks/>
            </p:cNvCxnSpPr>
            <p:nvPr/>
          </p:nvCxnSpPr>
          <p:spPr>
            <a:xfrm>
              <a:off x="603685" y="1651115"/>
              <a:ext cx="6012002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6E494A2-55C3-4AFC-9FE7-55532B9513D6}"/>
              </a:ext>
            </a:extLst>
          </p:cNvPr>
          <p:cNvGrpSpPr/>
          <p:nvPr/>
        </p:nvGrpSpPr>
        <p:grpSpPr>
          <a:xfrm>
            <a:off x="7462351" y="2010745"/>
            <a:ext cx="289650" cy="256374"/>
            <a:chOff x="10927467" y="2335634"/>
            <a:chExt cx="289650" cy="25637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F11FC4B-6B53-42E1-BC0B-612274A7AAD7}"/>
                </a:ext>
              </a:extLst>
            </p:cNvPr>
            <p:cNvSpPr>
              <a:spLocks/>
            </p:cNvSpPr>
            <p:nvPr/>
          </p:nvSpPr>
          <p:spPr>
            <a:xfrm>
              <a:off x="10927467" y="2335634"/>
              <a:ext cx="289650" cy="25637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34" name="Idea Google Shape;10130;p57">
              <a:extLst>
                <a:ext uri="{FF2B5EF4-FFF2-40B4-BE49-F238E27FC236}">
                  <a16:creationId xmlns:a16="http://schemas.microsoft.com/office/drawing/2014/main" id="{3227F15B-1195-4419-A2EC-19F2D1C7268B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0990069" y="2375725"/>
              <a:ext cx="164445" cy="176192"/>
              <a:chOff x="5463762" y="5502505"/>
              <a:chExt cx="491329" cy="526428"/>
            </a:xfrm>
            <a:solidFill>
              <a:srgbClr val="FFFFFF"/>
            </a:solidFill>
          </p:grpSpPr>
          <p:sp>
            <p:nvSpPr>
              <p:cNvPr id="136" name="Google Shape;10131;p57">
                <a:extLst>
                  <a:ext uri="{FF2B5EF4-FFF2-40B4-BE49-F238E27FC236}">
                    <a16:creationId xmlns:a16="http://schemas.microsoft.com/office/drawing/2014/main" id="{B97F975D-D5D0-4F98-92BD-811A4A056B2A}"/>
                  </a:ext>
                </a:extLst>
              </p:cNvPr>
              <p:cNvSpPr/>
              <p:nvPr/>
            </p:nvSpPr>
            <p:spPr>
              <a:xfrm>
                <a:off x="5544752" y="5590432"/>
                <a:ext cx="322368" cy="438501"/>
              </a:xfrm>
              <a:custGeom>
                <a:avLst/>
                <a:gdLst/>
                <a:ahLst/>
                <a:cxnLst/>
                <a:rect l="l" t="t" r="r" b="b"/>
                <a:pathLst>
                  <a:path w="7109" h="9670" extrusionOk="0">
                    <a:moveTo>
                      <a:pt x="3643" y="359"/>
                    </a:moveTo>
                    <a:cubicBezTo>
                      <a:pt x="4417" y="359"/>
                      <a:pt x="5132" y="645"/>
                      <a:pt x="5703" y="1157"/>
                    </a:cubicBezTo>
                    <a:cubicBezTo>
                      <a:pt x="6358" y="1752"/>
                      <a:pt x="6751" y="2597"/>
                      <a:pt x="6751" y="3478"/>
                    </a:cubicBezTo>
                    <a:cubicBezTo>
                      <a:pt x="6739" y="4074"/>
                      <a:pt x="6572" y="4669"/>
                      <a:pt x="6251" y="5157"/>
                    </a:cubicBezTo>
                    <a:cubicBezTo>
                      <a:pt x="5929" y="5645"/>
                      <a:pt x="5489" y="6038"/>
                      <a:pt x="4953" y="6288"/>
                    </a:cubicBezTo>
                    <a:cubicBezTo>
                      <a:pt x="4620" y="6431"/>
                      <a:pt x="4417" y="6776"/>
                      <a:pt x="4417" y="7146"/>
                    </a:cubicBezTo>
                    <a:lnTo>
                      <a:pt x="4417" y="7360"/>
                    </a:lnTo>
                    <a:lnTo>
                      <a:pt x="2834" y="7360"/>
                    </a:lnTo>
                    <a:lnTo>
                      <a:pt x="2834" y="7146"/>
                    </a:lnTo>
                    <a:cubicBezTo>
                      <a:pt x="2834" y="6776"/>
                      <a:pt x="2631" y="6455"/>
                      <a:pt x="2298" y="6288"/>
                    </a:cubicBezTo>
                    <a:cubicBezTo>
                      <a:pt x="1084" y="5705"/>
                      <a:pt x="381" y="4407"/>
                      <a:pt x="548" y="3074"/>
                    </a:cubicBezTo>
                    <a:cubicBezTo>
                      <a:pt x="726" y="1669"/>
                      <a:pt x="1869" y="526"/>
                      <a:pt x="3286" y="383"/>
                    </a:cubicBezTo>
                    <a:cubicBezTo>
                      <a:pt x="3405" y="359"/>
                      <a:pt x="3524" y="359"/>
                      <a:pt x="3643" y="359"/>
                    </a:cubicBezTo>
                    <a:close/>
                    <a:moveTo>
                      <a:pt x="4417" y="7729"/>
                    </a:moveTo>
                    <a:lnTo>
                      <a:pt x="4417" y="8324"/>
                    </a:lnTo>
                    <a:cubicBezTo>
                      <a:pt x="4417" y="8443"/>
                      <a:pt x="4322" y="8539"/>
                      <a:pt x="4203" y="8539"/>
                    </a:cubicBezTo>
                    <a:lnTo>
                      <a:pt x="3048" y="8539"/>
                    </a:lnTo>
                    <a:cubicBezTo>
                      <a:pt x="2929" y="8539"/>
                      <a:pt x="2834" y="8443"/>
                      <a:pt x="2834" y="8324"/>
                    </a:cubicBezTo>
                    <a:lnTo>
                      <a:pt x="2834" y="7729"/>
                    </a:lnTo>
                    <a:close/>
                    <a:moveTo>
                      <a:pt x="4024" y="8896"/>
                    </a:moveTo>
                    <a:lnTo>
                      <a:pt x="4024" y="9098"/>
                    </a:lnTo>
                    <a:cubicBezTo>
                      <a:pt x="4024" y="9217"/>
                      <a:pt x="3941" y="9313"/>
                      <a:pt x="3822" y="9313"/>
                    </a:cubicBezTo>
                    <a:lnTo>
                      <a:pt x="3429" y="9313"/>
                    </a:lnTo>
                    <a:cubicBezTo>
                      <a:pt x="3310" y="9313"/>
                      <a:pt x="3227" y="9217"/>
                      <a:pt x="3227" y="9098"/>
                    </a:cubicBezTo>
                    <a:lnTo>
                      <a:pt x="3227" y="8896"/>
                    </a:lnTo>
                    <a:close/>
                    <a:moveTo>
                      <a:pt x="3658" y="1"/>
                    </a:moveTo>
                    <a:cubicBezTo>
                      <a:pt x="3519" y="1"/>
                      <a:pt x="3379" y="9"/>
                      <a:pt x="3239" y="26"/>
                    </a:cubicBezTo>
                    <a:cubicBezTo>
                      <a:pt x="1667" y="204"/>
                      <a:pt x="381" y="1466"/>
                      <a:pt x="191" y="3026"/>
                    </a:cubicBezTo>
                    <a:cubicBezTo>
                      <a:pt x="0" y="4526"/>
                      <a:pt x="786" y="5979"/>
                      <a:pt x="2155" y="6610"/>
                    </a:cubicBezTo>
                    <a:cubicBezTo>
                      <a:pt x="2358" y="6705"/>
                      <a:pt x="2477" y="6931"/>
                      <a:pt x="2477" y="7146"/>
                    </a:cubicBezTo>
                    <a:lnTo>
                      <a:pt x="2477" y="8324"/>
                    </a:lnTo>
                    <a:cubicBezTo>
                      <a:pt x="2477" y="8574"/>
                      <a:pt x="2643" y="8789"/>
                      <a:pt x="2870" y="8860"/>
                    </a:cubicBezTo>
                    <a:lnTo>
                      <a:pt x="2870" y="9098"/>
                    </a:lnTo>
                    <a:cubicBezTo>
                      <a:pt x="2870" y="9408"/>
                      <a:pt x="3120" y="9670"/>
                      <a:pt x="3429" y="9670"/>
                    </a:cubicBezTo>
                    <a:lnTo>
                      <a:pt x="3822" y="9670"/>
                    </a:lnTo>
                    <a:cubicBezTo>
                      <a:pt x="4132" y="9670"/>
                      <a:pt x="4382" y="9408"/>
                      <a:pt x="4382" y="9098"/>
                    </a:cubicBezTo>
                    <a:lnTo>
                      <a:pt x="4382" y="8860"/>
                    </a:lnTo>
                    <a:cubicBezTo>
                      <a:pt x="4608" y="8789"/>
                      <a:pt x="4775" y="8574"/>
                      <a:pt x="4775" y="8324"/>
                    </a:cubicBezTo>
                    <a:lnTo>
                      <a:pt x="4775" y="7146"/>
                    </a:lnTo>
                    <a:cubicBezTo>
                      <a:pt x="4775" y="6931"/>
                      <a:pt x="4906" y="6717"/>
                      <a:pt x="5096" y="6610"/>
                    </a:cubicBezTo>
                    <a:cubicBezTo>
                      <a:pt x="5691" y="6336"/>
                      <a:pt x="6191" y="5895"/>
                      <a:pt x="6549" y="5348"/>
                    </a:cubicBezTo>
                    <a:cubicBezTo>
                      <a:pt x="6906" y="4788"/>
                      <a:pt x="7096" y="4133"/>
                      <a:pt x="7096" y="3455"/>
                    </a:cubicBezTo>
                    <a:cubicBezTo>
                      <a:pt x="7108" y="2490"/>
                      <a:pt x="6680" y="1538"/>
                      <a:pt x="5953" y="883"/>
                    </a:cubicBezTo>
                    <a:cubicBezTo>
                      <a:pt x="5309" y="310"/>
                      <a:pt x="4506" y="1"/>
                      <a:pt x="365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Google Shape;10132;p57">
                <a:extLst>
                  <a:ext uri="{FF2B5EF4-FFF2-40B4-BE49-F238E27FC236}">
                    <a16:creationId xmlns:a16="http://schemas.microsoft.com/office/drawing/2014/main" id="{F67AF24D-CAE8-479B-B4B3-4EA5AA7074EC}"/>
                  </a:ext>
                </a:extLst>
              </p:cNvPr>
              <p:cNvSpPr/>
              <p:nvPr/>
            </p:nvSpPr>
            <p:spPr>
              <a:xfrm>
                <a:off x="5885938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80" y="1"/>
                    </a:moveTo>
                    <a:cubicBezTo>
                      <a:pt x="72" y="1"/>
                      <a:pt x="1" y="72"/>
                      <a:pt x="1" y="179"/>
                    </a:cubicBezTo>
                    <a:cubicBezTo>
                      <a:pt x="1" y="275"/>
                      <a:pt x="72" y="358"/>
                      <a:pt x="180" y="358"/>
                    </a:cubicBezTo>
                    <a:lnTo>
                      <a:pt x="1346" y="358"/>
                    </a:lnTo>
                    <a:cubicBezTo>
                      <a:pt x="1442" y="358"/>
                      <a:pt x="1525" y="275"/>
                      <a:pt x="1525" y="179"/>
                    </a:cubicBezTo>
                    <a:cubicBezTo>
                      <a:pt x="1525" y="72"/>
                      <a:pt x="1430" y="1"/>
                      <a:pt x="134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Google Shape;10133;p57">
                <a:extLst>
                  <a:ext uri="{FF2B5EF4-FFF2-40B4-BE49-F238E27FC236}">
                    <a16:creationId xmlns:a16="http://schemas.microsoft.com/office/drawing/2014/main" id="{8D6EDCC8-D9B1-4E51-B414-AD5F06CF02A8}"/>
                  </a:ext>
                </a:extLst>
              </p:cNvPr>
              <p:cNvSpPr/>
              <p:nvPr/>
            </p:nvSpPr>
            <p:spPr>
              <a:xfrm>
                <a:off x="5463762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79" y="1"/>
                    </a:moveTo>
                    <a:cubicBezTo>
                      <a:pt x="72" y="1"/>
                      <a:pt x="0" y="72"/>
                      <a:pt x="0" y="179"/>
                    </a:cubicBezTo>
                    <a:cubicBezTo>
                      <a:pt x="0" y="275"/>
                      <a:pt x="72" y="358"/>
                      <a:pt x="179" y="358"/>
                    </a:cubicBezTo>
                    <a:lnTo>
                      <a:pt x="1334" y="358"/>
                    </a:lnTo>
                    <a:cubicBezTo>
                      <a:pt x="1441" y="358"/>
                      <a:pt x="1512" y="275"/>
                      <a:pt x="1512" y="179"/>
                    </a:cubicBezTo>
                    <a:cubicBezTo>
                      <a:pt x="1524" y="72"/>
                      <a:pt x="1441" y="1"/>
                      <a:pt x="13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Google Shape;10134;p57">
                <a:extLst>
                  <a:ext uri="{FF2B5EF4-FFF2-40B4-BE49-F238E27FC236}">
                    <a16:creationId xmlns:a16="http://schemas.microsoft.com/office/drawing/2014/main" id="{047D8D13-C940-4E12-90AF-7B828581A2AA}"/>
                  </a:ext>
                </a:extLst>
              </p:cNvPr>
              <p:cNvSpPr/>
              <p:nvPr/>
            </p:nvSpPr>
            <p:spPr>
              <a:xfrm>
                <a:off x="5701288" y="5502505"/>
                <a:ext cx="16279" cy="68609"/>
              </a:xfrm>
              <a:custGeom>
                <a:avLst/>
                <a:gdLst/>
                <a:ahLst/>
                <a:cxnLst/>
                <a:rect l="l" t="t" r="r" b="b"/>
                <a:pathLst>
                  <a:path w="359" h="1513" extrusionOk="0">
                    <a:moveTo>
                      <a:pt x="180" y="0"/>
                    </a:moveTo>
                    <a:cubicBezTo>
                      <a:pt x="72" y="0"/>
                      <a:pt x="1" y="72"/>
                      <a:pt x="1" y="179"/>
                    </a:cubicBezTo>
                    <a:lnTo>
                      <a:pt x="1" y="1334"/>
                    </a:lnTo>
                    <a:cubicBezTo>
                      <a:pt x="1" y="1441"/>
                      <a:pt x="72" y="1512"/>
                      <a:pt x="180" y="1512"/>
                    </a:cubicBezTo>
                    <a:cubicBezTo>
                      <a:pt x="275" y="1512"/>
                      <a:pt x="358" y="1441"/>
                      <a:pt x="358" y="1334"/>
                    </a:cubicBezTo>
                    <a:lnTo>
                      <a:pt x="358" y="179"/>
                    </a:lnTo>
                    <a:cubicBezTo>
                      <a:pt x="358" y="72"/>
                      <a:pt x="275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Google Shape;10135;p57">
                <a:extLst>
                  <a:ext uri="{FF2B5EF4-FFF2-40B4-BE49-F238E27FC236}">
                    <a16:creationId xmlns:a16="http://schemas.microsoft.com/office/drawing/2014/main" id="{D9E90294-8DEA-4721-B66F-C5F688052AEC}"/>
                  </a:ext>
                </a:extLst>
              </p:cNvPr>
              <p:cNvSpPr/>
              <p:nvPr/>
            </p:nvSpPr>
            <p:spPr>
              <a:xfrm>
                <a:off x="5791482" y="5557375"/>
                <a:ext cx="32423" cy="39633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74" extrusionOk="0">
                    <a:moveTo>
                      <a:pt x="513" y="0"/>
                    </a:moveTo>
                    <a:cubicBezTo>
                      <a:pt x="451" y="0"/>
                      <a:pt x="387" y="27"/>
                      <a:pt x="346" y="76"/>
                    </a:cubicBezTo>
                    <a:lnTo>
                      <a:pt x="48" y="588"/>
                    </a:lnTo>
                    <a:cubicBezTo>
                      <a:pt x="0" y="671"/>
                      <a:pt x="24" y="778"/>
                      <a:pt x="107" y="838"/>
                    </a:cubicBezTo>
                    <a:cubicBezTo>
                      <a:pt x="131" y="850"/>
                      <a:pt x="167" y="874"/>
                      <a:pt x="191" y="874"/>
                    </a:cubicBezTo>
                    <a:cubicBezTo>
                      <a:pt x="250" y="874"/>
                      <a:pt x="310" y="838"/>
                      <a:pt x="358" y="778"/>
                    </a:cubicBezTo>
                    <a:lnTo>
                      <a:pt x="655" y="278"/>
                    </a:lnTo>
                    <a:cubicBezTo>
                      <a:pt x="715" y="171"/>
                      <a:pt x="691" y="64"/>
                      <a:pt x="596" y="16"/>
                    </a:cubicBezTo>
                    <a:cubicBezTo>
                      <a:pt x="570" y="5"/>
                      <a:pt x="542" y="0"/>
                      <a:pt x="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Google Shape;10136;p57">
                <a:extLst>
                  <a:ext uri="{FF2B5EF4-FFF2-40B4-BE49-F238E27FC236}">
                    <a16:creationId xmlns:a16="http://schemas.microsoft.com/office/drawing/2014/main" id="{DD02263B-FAAE-4D97-8CE8-16CC868AD08C}"/>
                  </a:ext>
                </a:extLst>
              </p:cNvPr>
              <p:cNvSpPr/>
              <p:nvPr/>
            </p:nvSpPr>
            <p:spPr>
              <a:xfrm>
                <a:off x="5593861" y="5899424"/>
                <a:ext cx="32423" cy="39360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68" extrusionOk="0">
                    <a:moveTo>
                      <a:pt x="507" y="0"/>
                    </a:moveTo>
                    <a:cubicBezTo>
                      <a:pt x="444" y="0"/>
                      <a:pt x="387" y="33"/>
                      <a:pt x="346" y="82"/>
                    </a:cubicBezTo>
                    <a:lnTo>
                      <a:pt x="48" y="594"/>
                    </a:lnTo>
                    <a:cubicBezTo>
                      <a:pt x="1" y="677"/>
                      <a:pt x="24" y="784"/>
                      <a:pt x="108" y="844"/>
                    </a:cubicBezTo>
                    <a:cubicBezTo>
                      <a:pt x="132" y="855"/>
                      <a:pt x="155" y="867"/>
                      <a:pt x="191" y="867"/>
                    </a:cubicBezTo>
                    <a:cubicBezTo>
                      <a:pt x="251" y="867"/>
                      <a:pt x="310" y="844"/>
                      <a:pt x="358" y="784"/>
                    </a:cubicBezTo>
                    <a:lnTo>
                      <a:pt x="655" y="272"/>
                    </a:lnTo>
                    <a:cubicBezTo>
                      <a:pt x="715" y="189"/>
                      <a:pt x="679" y="82"/>
                      <a:pt x="596" y="22"/>
                    </a:cubicBezTo>
                    <a:cubicBezTo>
                      <a:pt x="566" y="7"/>
                      <a:pt x="536" y="0"/>
                      <a:pt x="50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Google Shape;10137;p57">
                <a:extLst>
                  <a:ext uri="{FF2B5EF4-FFF2-40B4-BE49-F238E27FC236}">
                    <a16:creationId xmlns:a16="http://schemas.microsoft.com/office/drawing/2014/main" id="{00A0DC16-D216-47E6-BA23-A5481C2EDD93}"/>
                  </a:ext>
                </a:extLst>
              </p:cNvPr>
              <p:cNvSpPr/>
              <p:nvPr/>
            </p:nvSpPr>
            <p:spPr>
              <a:xfrm>
                <a:off x="5593861" y="5556739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13" y="1"/>
                    </a:moveTo>
                    <a:cubicBezTo>
                      <a:pt x="181" y="1"/>
                      <a:pt x="148" y="10"/>
                      <a:pt x="120" y="30"/>
                    </a:cubicBezTo>
                    <a:cubicBezTo>
                      <a:pt x="24" y="78"/>
                      <a:pt x="1" y="197"/>
                      <a:pt x="60" y="292"/>
                    </a:cubicBezTo>
                    <a:lnTo>
                      <a:pt x="358" y="792"/>
                    </a:lnTo>
                    <a:cubicBezTo>
                      <a:pt x="382" y="852"/>
                      <a:pt x="441" y="888"/>
                      <a:pt x="525" y="888"/>
                    </a:cubicBezTo>
                    <a:cubicBezTo>
                      <a:pt x="548" y="888"/>
                      <a:pt x="584" y="864"/>
                      <a:pt x="608" y="852"/>
                    </a:cubicBezTo>
                    <a:cubicBezTo>
                      <a:pt x="679" y="792"/>
                      <a:pt x="715" y="685"/>
                      <a:pt x="667" y="602"/>
                    </a:cubicBezTo>
                    <a:lnTo>
                      <a:pt x="370" y="90"/>
                    </a:lnTo>
                    <a:cubicBezTo>
                      <a:pt x="338" y="35"/>
                      <a:pt x="276" y="1"/>
                      <a:pt x="2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Google Shape;10138;p57">
                <a:extLst>
                  <a:ext uri="{FF2B5EF4-FFF2-40B4-BE49-F238E27FC236}">
                    <a16:creationId xmlns:a16="http://schemas.microsoft.com/office/drawing/2014/main" id="{FAD35447-FD44-4340-8486-6432F32C08CC}"/>
                  </a:ext>
                </a:extLst>
              </p:cNvPr>
              <p:cNvSpPr/>
              <p:nvPr/>
            </p:nvSpPr>
            <p:spPr>
              <a:xfrm>
                <a:off x="5791482" y="5899605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21" y="0"/>
                    </a:moveTo>
                    <a:cubicBezTo>
                      <a:pt x="187" y="0"/>
                      <a:pt x="152" y="10"/>
                      <a:pt x="119" y="30"/>
                    </a:cubicBezTo>
                    <a:cubicBezTo>
                      <a:pt x="24" y="78"/>
                      <a:pt x="0" y="197"/>
                      <a:pt x="60" y="292"/>
                    </a:cubicBezTo>
                    <a:lnTo>
                      <a:pt x="358" y="792"/>
                    </a:lnTo>
                    <a:cubicBezTo>
                      <a:pt x="393" y="851"/>
                      <a:pt x="453" y="887"/>
                      <a:pt x="524" y="887"/>
                    </a:cubicBezTo>
                    <a:cubicBezTo>
                      <a:pt x="548" y="887"/>
                      <a:pt x="584" y="863"/>
                      <a:pt x="608" y="851"/>
                    </a:cubicBezTo>
                    <a:cubicBezTo>
                      <a:pt x="691" y="792"/>
                      <a:pt x="715" y="673"/>
                      <a:pt x="667" y="601"/>
                    </a:cubicBezTo>
                    <a:lnTo>
                      <a:pt x="369" y="89"/>
                    </a:lnTo>
                    <a:cubicBezTo>
                      <a:pt x="346" y="35"/>
                      <a:pt x="286" y="0"/>
                      <a:pt x="2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Google Shape;10139;p57">
                <a:extLst>
                  <a:ext uri="{FF2B5EF4-FFF2-40B4-BE49-F238E27FC236}">
                    <a16:creationId xmlns:a16="http://schemas.microsoft.com/office/drawing/2014/main" id="{D00CCF70-B3B0-4872-8AE7-BCB776311F07}"/>
                  </a:ext>
                </a:extLst>
              </p:cNvPr>
              <p:cNvSpPr/>
              <p:nvPr/>
            </p:nvSpPr>
            <p:spPr>
              <a:xfrm>
                <a:off x="5859501" y="5831947"/>
                <a:ext cx="42172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30" h="665" extrusionOk="0">
                    <a:moveTo>
                      <a:pt x="215" y="0"/>
                    </a:moveTo>
                    <a:cubicBezTo>
                      <a:pt x="152" y="0"/>
                      <a:pt x="89" y="32"/>
                      <a:pt x="48" y="81"/>
                    </a:cubicBezTo>
                    <a:cubicBezTo>
                      <a:pt x="1" y="177"/>
                      <a:pt x="36" y="272"/>
                      <a:pt x="108" y="331"/>
                    </a:cubicBezTo>
                    <a:lnTo>
                      <a:pt x="608" y="629"/>
                    </a:lnTo>
                    <a:cubicBezTo>
                      <a:pt x="643" y="653"/>
                      <a:pt x="667" y="665"/>
                      <a:pt x="703" y="665"/>
                    </a:cubicBezTo>
                    <a:cubicBezTo>
                      <a:pt x="763" y="665"/>
                      <a:pt x="822" y="629"/>
                      <a:pt x="870" y="569"/>
                    </a:cubicBezTo>
                    <a:cubicBezTo>
                      <a:pt x="929" y="486"/>
                      <a:pt x="893" y="367"/>
                      <a:pt x="810" y="319"/>
                    </a:cubicBezTo>
                    <a:lnTo>
                      <a:pt x="298" y="22"/>
                    </a:lnTo>
                    <a:cubicBezTo>
                      <a:pt x="272" y="7"/>
                      <a:pt x="244" y="0"/>
                      <a:pt x="2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Google Shape;10140;p57">
                <a:extLst>
                  <a:ext uri="{FF2B5EF4-FFF2-40B4-BE49-F238E27FC236}">
                    <a16:creationId xmlns:a16="http://schemas.microsoft.com/office/drawing/2014/main" id="{D587F7EF-1291-43E3-86D6-D2361BCB7760}"/>
                  </a:ext>
                </a:extLst>
              </p:cNvPr>
              <p:cNvSpPr/>
              <p:nvPr/>
            </p:nvSpPr>
            <p:spPr>
              <a:xfrm>
                <a:off x="5516681" y="5634328"/>
                <a:ext cx="42126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65" extrusionOk="0">
                    <a:moveTo>
                      <a:pt x="214" y="0"/>
                    </a:moveTo>
                    <a:cubicBezTo>
                      <a:pt x="152" y="0"/>
                      <a:pt x="89" y="33"/>
                      <a:pt x="48" y="82"/>
                    </a:cubicBezTo>
                    <a:cubicBezTo>
                      <a:pt x="0" y="165"/>
                      <a:pt x="36" y="272"/>
                      <a:pt x="107" y="332"/>
                    </a:cubicBezTo>
                    <a:lnTo>
                      <a:pt x="619" y="629"/>
                    </a:lnTo>
                    <a:cubicBezTo>
                      <a:pt x="643" y="641"/>
                      <a:pt x="667" y="665"/>
                      <a:pt x="703" y="665"/>
                    </a:cubicBezTo>
                    <a:cubicBezTo>
                      <a:pt x="762" y="665"/>
                      <a:pt x="822" y="629"/>
                      <a:pt x="869" y="570"/>
                    </a:cubicBezTo>
                    <a:cubicBezTo>
                      <a:pt x="929" y="463"/>
                      <a:pt x="893" y="367"/>
                      <a:pt x="810" y="320"/>
                    </a:cubicBezTo>
                    <a:lnTo>
                      <a:pt x="298" y="22"/>
                    </a:lnTo>
                    <a:cubicBezTo>
                      <a:pt x="272" y="7"/>
                      <a:pt x="243" y="0"/>
                      <a:pt x="21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Google Shape;10141;p57">
                <a:extLst>
                  <a:ext uri="{FF2B5EF4-FFF2-40B4-BE49-F238E27FC236}">
                    <a16:creationId xmlns:a16="http://schemas.microsoft.com/office/drawing/2014/main" id="{3EF12144-EF78-40C8-8111-9AFDA0E97BBC}"/>
                  </a:ext>
                </a:extLst>
              </p:cNvPr>
              <p:cNvSpPr/>
              <p:nvPr/>
            </p:nvSpPr>
            <p:spPr>
              <a:xfrm>
                <a:off x="5858957" y="5634509"/>
                <a:ext cx="4271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73" extrusionOk="0">
                    <a:moveTo>
                      <a:pt x="725" y="0"/>
                    </a:moveTo>
                    <a:cubicBezTo>
                      <a:pt x="693" y="0"/>
                      <a:pt x="660" y="10"/>
                      <a:pt x="632" y="30"/>
                    </a:cubicBezTo>
                    <a:lnTo>
                      <a:pt x="120" y="328"/>
                    </a:lnTo>
                    <a:cubicBezTo>
                      <a:pt x="36" y="375"/>
                      <a:pt x="1" y="494"/>
                      <a:pt x="60" y="578"/>
                    </a:cubicBezTo>
                    <a:cubicBezTo>
                      <a:pt x="96" y="637"/>
                      <a:pt x="155" y="673"/>
                      <a:pt x="227" y="673"/>
                    </a:cubicBezTo>
                    <a:cubicBezTo>
                      <a:pt x="251" y="673"/>
                      <a:pt x="286" y="661"/>
                      <a:pt x="310" y="637"/>
                    </a:cubicBezTo>
                    <a:lnTo>
                      <a:pt x="822" y="340"/>
                    </a:lnTo>
                    <a:cubicBezTo>
                      <a:pt x="905" y="280"/>
                      <a:pt x="941" y="161"/>
                      <a:pt x="882" y="89"/>
                    </a:cubicBezTo>
                    <a:cubicBezTo>
                      <a:pt x="850" y="35"/>
                      <a:pt x="788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Google Shape;10142;p57">
                <a:extLst>
                  <a:ext uri="{FF2B5EF4-FFF2-40B4-BE49-F238E27FC236}">
                    <a16:creationId xmlns:a16="http://schemas.microsoft.com/office/drawing/2014/main" id="{DC552FB1-8FC2-492C-90E8-49713B4B5F00}"/>
                  </a:ext>
                </a:extLst>
              </p:cNvPr>
              <p:cNvSpPr/>
              <p:nvPr/>
            </p:nvSpPr>
            <p:spPr>
              <a:xfrm>
                <a:off x="5516681" y="5832129"/>
                <a:ext cx="4212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73" extrusionOk="0">
                    <a:moveTo>
                      <a:pt x="725" y="0"/>
                    </a:moveTo>
                    <a:cubicBezTo>
                      <a:pt x="692" y="0"/>
                      <a:pt x="660" y="9"/>
                      <a:pt x="631" y="30"/>
                    </a:cubicBezTo>
                    <a:lnTo>
                      <a:pt x="119" y="327"/>
                    </a:lnTo>
                    <a:cubicBezTo>
                      <a:pt x="36" y="375"/>
                      <a:pt x="0" y="494"/>
                      <a:pt x="60" y="589"/>
                    </a:cubicBezTo>
                    <a:cubicBezTo>
                      <a:pt x="95" y="649"/>
                      <a:pt x="155" y="673"/>
                      <a:pt x="226" y="673"/>
                    </a:cubicBezTo>
                    <a:cubicBezTo>
                      <a:pt x="262" y="673"/>
                      <a:pt x="286" y="661"/>
                      <a:pt x="322" y="649"/>
                    </a:cubicBezTo>
                    <a:lnTo>
                      <a:pt x="822" y="351"/>
                    </a:lnTo>
                    <a:cubicBezTo>
                      <a:pt x="893" y="292"/>
                      <a:pt x="929" y="173"/>
                      <a:pt x="881" y="89"/>
                    </a:cubicBezTo>
                    <a:cubicBezTo>
                      <a:pt x="850" y="34"/>
                      <a:pt x="787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56926-0B32-C96F-95E6-E5EC709C5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AU" sz="10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1346ABC0-C49D-4C3D-B625-690AED4E117C}"/>
              </a:ext>
            </a:extLst>
          </p:cNvPr>
          <p:cNvGrpSpPr/>
          <p:nvPr/>
        </p:nvGrpSpPr>
        <p:grpSpPr>
          <a:xfrm>
            <a:off x="10931492" y="1983176"/>
            <a:ext cx="289650" cy="257508"/>
            <a:chOff x="10931492" y="2340619"/>
            <a:chExt cx="289650" cy="257508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58372D6-C28A-4F35-962A-8A466CC4ACFB}"/>
                </a:ext>
              </a:extLst>
            </p:cNvPr>
            <p:cNvSpPr>
              <a:spLocks/>
            </p:cNvSpPr>
            <p:nvPr/>
          </p:nvSpPr>
          <p:spPr>
            <a:xfrm>
              <a:off x="10931492" y="2340619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102" name="Target Graphic 45 (2)">
              <a:extLst>
                <a:ext uri="{FF2B5EF4-FFF2-40B4-BE49-F238E27FC236}">
                  <a16:creationId xmlns:a16="http://schemas.microsoft.com/office/drawing/2014/main" id="{AFFD65B9-66A6-4D27-BDB1-70672C907B4D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0988222" y="2381277"/>
              <a:ext cx="176191" cy="176191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242390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ct 111" hidden="1">
            <a:extLst>
              <a:ext uri="{FF2B5EF4-FFF2-40B4-BE49-F238E27FC236}">
                <a16:creationId xmlns:a16="http://schemas.microsoft.com/office/drawing/2014/main" id="{42D6783D-FC86-46BB-81A7-105524F92A3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0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112" name="Object 111" hidden="1">
                        <a:extLst>
                          <a:ext uri="{FF2B5EF4-FFF2-40B4-BE49-F238E27FC236}">
                            <a16:creationId xmlns:a16="http://schemas.microsoft.com/office/drawing/2014/main" id="{42D6783D-FC86-46BB-81A7-105524F92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6" name="Group 55">
            <a:extLst>
              <a:ext uri="{FF2B5EF4-FFF2-40B4-BE49-F238E27FC236}">
                <a16:creationId xmlns:a16="http://schemas.microsoft.com/office/drawing/2014/main" id="{1A0829C3-C86B-4668-B867-780EE863AFE1}"/>
              </a:ext>
            </a:extLst>
          </p:cNvPr>
          <p:cNvGrpSpPr/>
          <p:nvPr/>
        </p:nvGrpSpPr>
        <p:grpSpPr>
          <a:xfrm>
            <a:off x="4440000" y="2079489"/>
            <a:ext cx="3312000" cy="1856467"/>
            <a:chOff x="617534" y="1614488"/>
            <a:chExt cx="6012001" cy="2058679"/>
          </a:xfrm>
        </p:grpSpPr>
        <p:sp>
          <p:nvSpPr>
            <p:cNvPr id="57" name="TextBox 4">
              <a:extLst>
                <a:ext uri="{FF2B5EF4-FFF2-40B4-BE49-F238E27FC236}">
                  <a16:creationId xmlns:a16="http://schemas.microsoft.com/office/drawing/2014/main" id="{C9D8BE34-6061-4A8F-921F-8E4D9B54A5B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4" y="1614488"/>
              <a:ext cx="6012001" cy="20586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lution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Set up operating rhythms between function and technology teams to ensure close collaboration and understanding of business needs / system constraints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Adopt iterative approach to development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Implement non-core system solutions to support 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functions,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e.g</a:t>
              </a: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.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rPr>
                <a:t>hybrid working and collaboration tools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8177ED5-EAC0-43B3-BC37-E6676370150C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020DA3D-41AD-4F62-8E35-700CCD1C4C13}"/>
              </a:ext>
            </a:extLst>
          </p:cNvPr>
          <p:cNvGrpSpPr/>
          <p:nvPr/>
        </p:nvGrpSpPr>
        <p:grpSpPr>
          <a:xfrm>
            <a:off x="982662" y="2079489"/>
            <a:ext cx="3312001" cy="1850369"/>
            <a:chOff x="617532" y="1614488"/>
            <a:chExt cx="6012003" cy="2049324"/>
          </a:xfrm>
        </p:grpSpPr>
        <p:sp>
          <p:nvSpPr>
            <p:cNvPr id="70" name="TextBox 4">
              <a:extLst>
                <a:ext uri="{FF2B5EF4-FFF2-40B4-BE49-F238E27FC236}">
                  <a16:creationId xmlns:a16="http://schemas.microsoft.com/office/drawing/2014/main" id="{DABC1CF3-528E-4771-BEF1-6B07AE476073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617532" y="1614488"/>
              <a:ext cx="6012001" cy="20493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4000" tIns="108000" rIns="216000" bIns="14400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AU" sz="105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blem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Silos that exist between function and technology teams result in lack of collaboration from the </a:t>
              </a:r>
              <a:r>
                <a:rPr kumimoji="0" lang="en-GB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outset -  this </a:t>
              </a: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increases risk of technology solutions not being fit-for-purpose</a:t>
              </a:r>
            </a:p>
            <a:p>
              <a:pPr marL="179705" marR="0" lvl="0" indent="-179705" algn="l" defTabSz="2700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>
                  <a:tab pos="270000" algn="l"/>
                </a:tabLst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/>
                </a:rPr>
                <a:t>Linear development approach restricts continuous improvement capability and agile development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6FD838BA-A124-460C-B48C-282BEA6CEC4A}"/>
                </a:ext>
              </a:extLst>
            </p:cNvPr>
            <p:cNvCxnSpPr>
              <a:cxnSpLocks/>
            </p:cNvCxnSpPr>
            <p:nvPr/>
          </p:nvCxnSpPr>
          <p:spPr>
            <a:xfrm>
              <a:off x="617535" y="1614488"/>
              <a:ext cx="6012000" cy="0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613E042-6CFD-40D8-96D1-8C0C76A4874E}"/>
              </a:ext>
            </a:extLst>
          </p:cNvPr>
          <p:cNvSpPr txBox="1">
            <a:spLocks/>
          </p:cNvSpPr>
          <p:nvPr/>
        </p:nvSpPr>
        <p:spPr>
          <a:xfrm>
            <a:off x="11718924" y="6658264"/>
            <a:ext cx="492551" cy="35213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I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0A3798C-DB7A-4257-BDE6-DD298EB65C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6. IT operating model</a:t>
            </a:r>
          </a:p>
        </p:txBody>
      </p:sp>
      <p:sp>
        <p:nvSpPr>
          <p:cNvPr id="54" name="Rectangle 10">
            <a:extLst>
              <a:ext uri="{FF2B5EF4-FFF2-40B4-BE49-F238E27FC236}">
                <a16:creationId xmlns:a16="http://schemas.microsoft.com/office/drawing/2014/main" id="{374652A6-5705-4BB8-9ADD-09696A3147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2" y="1562826"/>
            <a:ext cx="10234453" cy="330200"/>
          </a:xfrm>
          <a:prstGeom prst="rect">
            <a:avLst/>
          </a:prstGeom>
          <a:solidFill>
            <a:schemeClr val="accent4"/>
          </a:solidFill>
          <a:ln>
            <a:noFill/>
          </a:ln>
          <a:extLst>
            <a:ext uri="{909E8E84-426E-40dd-AFC4-6F175D3DCCD1}">
              <a14:hiddenFill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mc="http://schemas.openxmlformats.org/markup-compatibility/2006" xmlns:p14="http://schemas.microsoft.com/office/powerpoint/2010/main" xmlns:a16="http://schemas.microsoft.com/office/drawing/2014/main" xmlns:v="urn:schemas-microsoft-com:vml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stream overview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E251498-FF77-4F75-A773-4442B414B349}"/>
              </a:ext>
            </a:extLst>
          </p:cNvPr>
          <p:cNvGrpSpPr/>
          <p:nvPr/>
        </p:nvGrpSpPr>
        <p:grpSpPr>
          <a:xfrm>
            <a:off x="982662" y="4014211"/>
            <a:ext cx="6769337" cy="1294764"/>
            <a:chOff x="7908293" y="2332107"/>
            <a:chExt cx="3312000" cy="1443139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46B59AEF-8C95-429D-95D2-445CBD85E983}"/>
                </a:ext>
              </a:extLst>
            </p:cNvPr>
            <p:cNvGrpSpPr/>
            <p:nvPr/>
          </p:nvGrpSpPr>
          <p:grpSpPr>
            <a:xfrm>
              <a:off x="7908293" y="2332107"/>
              <a:ext cx="3312000" cy="1443139"/>
              <a:chOff x="603685" y="1651115"/>
              <a:chExt cx="6012001" cy="1856881"/>
            </a:xfrm>
          </p:grpSpPr>
          <p:sp>
            <p:nvSpPr>
              <p:cNvPr id="96" name="TextBox 4">
                <a:extLst>
                  <a:ext uri="{FF2B5EF4-FFF2-40B4-BE49-F238E27FC236}">
                    <a16:creationId xmlns:a16="http://schemas.microsoft.com/office/drawing/2014/main" id="{F9E38435-8F28-4C3A-B13E-1E37E00C2D02}"/>
                  </a:ext>
                </a:extLst>
              </p:cNvPr>
              <p:cNvSpPr txBox="1">
                <a:spLocks noChangeArrowheads="1"/>
              </p:cNvSpPr>
              <p:nvPr userDrawn="1"/>
            </p:nvSpPr>
            <p:spPr bwMode="auto">
              <a:xfrm>
                <a:off x="603685" y="1655602"/>
                <a:ext cx="6012000" cy="185239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6350">
                <a:noFill/>
                <a:miter lim="800000"/>
                <a:headEnd/>
                <a:tailEnd/>
              </a:ln>
            </p:spPr>
            <p:txBody>
              <a:bodyPr vert="horz" wrap="square" lIns="144000" tIns="108000" rIns="216000" bIns="14400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270000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Font typeface="Arial" panose="020B0604020202020204" pitchFamily="34" charset="0"/>
                  <a:buChar char="•"/>
                  <a:tabLst>
                    <a:tab pos="270000" algn="l"/>
                  </a:tabLst>
                  <a:defRPr sz="1400" kern="0"/>
                </a:lvl1pPr>
                <a:lvl2pPr marL="540000" lvl="1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Font typeface="Calibri" panose="020F0502020204030204" pitchFamily="34" charset="0"/>
                  <a:buChar char="‒"/>
                  <a:tabLst>
                    <a:tab pos="270000" algn="l"/>
                  </a:tabLst>
                  <a:defRPr sz="1400" kern="0"/>
                </a:lvl2pPr>
                <a:lvl3pPr marL="810000" lvl="2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Courier New" panose="02070309020205020404" pitchFamily="49" charset="0"/>
                  <a:buChar char="o"/>
                  <a:tabLst>
                    <a:tab pos="270000" algn="l"/>
                  </a:tabLst>
                  <a:defRPr sz="1400" kern="0"/>
                </a:lvl3pPr>
                <a:lvl4pPr marL="1080000" lvl="3" indent="-270000" defTabSz="27000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accent1"/>
                  </a:buClr>
                  <a:buSzPct val="100000"/>
                  <a:buFont typeface="Wingdings" panose="05000000000000000000" pitchFamily="2" charset="2"/>
                  <a:buChar char="§"/>
                  <a:tabLst>
                    <a:tab pos="270000" algn="l"/>
                  </a:tabLst>
                  <a:defRPr sz="1400" kern="0"/>
                </a:lvl4pPr>
                <a:lvl5pPr marL="810000" indent="0" defTabSz="895350" fontAlgn="base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rgbClr val="18345E"/>
                  </a:buClr>
                  <a:buFont typeface="Wingdings" panose="05000000000000000000" pitchFamily="2" charset="2"/>
                  <a:buNone/>
                  <a:defRPr sz="1400" baseline="0"/>
                </a:lvl5pPr>
                <a:lvl6pPr marL="2152650" indent="-361950" fontAlgn="base">
                  <a:spcBef>
                    <a:spcPct val="20000"/>
                  </a:spcBef>
                  <a:spcAft>
                    <a:spcPct val="0"/>
                  </a:spcAft>
                  <a:buFont typeface="Calibri" pitchFamily="34" charset="0"/>
                  <a:buChar char="­"/>
                  <a:defRPr sz="1400"/>
                </a:lvl6pPr>
                <a:lvl7pPr marL="29718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7pPr>
                <a:lvl8pPr marL="34290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8pPr>
                <a:lvl9pPr marL="3886200" indent="-22860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/>
                </a:lvl9pPr>
              </a:lstStyle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AU" sz="105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utcomes</a:t>
                </a: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Participants: 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Only need to provide information once, improved satisfaction when dealing with the Commission</a:t>
                </a:r>
                <a:endPara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  <a:p>
                <a:pPr marL="0" marR="0" lvl="0" indent="0" algn="l" defTabSz="270000" rtl="0" eaLnBrk="1" fontAlgn="base" latinLnBrk="0" hangingPunct="1">
                  <a:lnSpc>
                    <a:spcPct val="120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prstClr val="black"/>
                  </a:buClr>
                  <a:buSzTx/>
                  <a:buFont typeface="Arial" panose="020B0604020202020204" pitchFamily="34" charset="0"/>
                  <a:buNone/>
                  <a:tabLst>
                    <a:tab pos="270000" algn="l"/>
                  </a:tabLst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Commission staff:</a:t>
                </a:r>
                <a:r>
                  <a:rPr kumimoji="0" lang="en-GB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/>
                  </a:rPr>
                  <a:t> Improved efficiency and effectiveness of operations, as solutions developed are fit-for-purpose</a:t>
                </a: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/>
                </a:endParaRPr>
              </a:p>
            </p:txBody>
          </p:sp>
          <p:cxnSp>
            <p:nvCxnSpPr>
              <p:cNvPr id="97" name="Straight Connector 96">
                <a:extLst>
                  <a:ext uri="{FF2B5EF4-FFF2-40B4-BE49-F238E27FC236}">
                    <a16:creationId xmlns:a16="http://schemas.microsoft.com/office/drawing/2014/main" id="{B16C8DB7-CFE4-433F-B545-0905644562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685" y="1651115"/>
                <a:ext cx="6012001" cy="0"/>
              </a:xfrm>
              <a:prstGeom prst="line">
                <a:avLst/>
              </a:prstGeom>
              <a:ln w="25400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BF8EF5F5-6DE7-402E-A412-E8C53B79EA2B}"/>
                </a:ext>
              </a:extLst>
            </p:cNvPr>
            <p:cNvGrpSpPr/>
            <p:nvPr/>
          </p:nvGrpSpPr>
          <p:grpSpPr>
            <a:xfrm>
              <a:off x="10927466" y="2334500"/>
              <a:ext cx="289650" cy="257508"/>
              <a:chOff x="10962167" y="2469373"/>
              <a:chExt cx="289650" cy="257508"/>
            </a:xfrm>
          </p:grpSpPr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6F9ACC9C-32A1-4663-B108-708FC57FAC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962167" y="2469373"/>
                <a:ext cx="289650" cy="25750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29" name="Handshake Google Shape;13584;p63">
                <a:extLst>
                  <a:ext uri="{FF2B5EF4-FFF2-40B4-BE49-F238E27FC236}">
                    <a16:creationId xmlns:a16="http://schemas.microsoft.com/office/drawing/2014/main" id="{6E6DB1FC-A402-4D01-A5B2-164830AB076A}"/>
                  </a:ext>
                </a:extLst>
              </p:cNvPr>
              <p:cNvGrpSpPr>
                <a:grpSpLocks/>
              </p:cNvGrpSpPr>
              <p:nvPr>
                <p:custDataLst>
                  <p:tags r:id="rId6"/>
                </p:custDataLst>
              </p:nvPr>
            </p:nvGrpSpPr>
            <p:grpSpPr>
              <a:xfrm>
                <a:off x="11022155" y="2511137"/>
                <a:ext cx="180696" cy="153070"/>
                <a:chOff x="3693404" y="2679504"/>
                <a:chExt cx="436113" cy="369438"/>
              </a:xfrm>
              <a:solidFill>
                <a:srgbClr val="FFFFFF"/>
              </a:solidFill>
            </p:grpSpPr>
            <p:sp>
              <p:nvSpPr>
                <p:cNvPr id="131" name="Google Shape;13585;p63">
                  <a:extLst>
                    <a:ext uri="{FF2B5EF4-FFF2-40B4-BE49-F238E27FC236}">
                      <a16:creationId xmlns:a16="http://schemas.microsoft.com/office/drawing/2014/main" id="{A9F8ACED-8273-4187-9CB8-C33AEBB8DA10}"/>
                    </a:ext>
                  </a:extLst>
                </p:cNvPr>
                <p:cNvSpPr/>
                <p:nvPr/>
              </p:nvSpPr>
              <p:spPr>
                <a:xfrm>
                  <a:off x="3693404" y="2698049"/>
                  <a:ext cx="436113" cy="3508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6" h="8268" extrusionOk="0">
                      <a:moveTo>
                        <a:pt x="6251" y="2267"/>
                      </a:moveTo>
                      <a:lnTo>
                        <a:pt x="7061" y="2541"/>
                      </a:lnTo>
                      <a:cubicBezTo>
                        <a:pt x="7073" y="2544"/>
                        <a:pt x="7086" y="2545"/>
                        <a:pt x="7098" y="2545"/>
                      </a:cubicBezTo>
                      <a:cubicBezTo>
                        <a:pt x="7136" y="2545"/>
                        <a:pt x="7174" y="2532"/>
                        <a:pt x="7192" y="2505"/>
                      </a:cubicBezTo>
                      <a:lnTo>
                        <a:pt x="7454" y="2314"/>
                      </a:lnTo>
                      <a:lnTo>
                        <a:pt x="9240" y="4660"/>
                      </a:lnTo>
                      <a:lnTo>
                        <a:pt x="8978" y="4874"/>
                      </a:lnTo>
                      <a:cubicBezTo>
                        <a:pt x="8966" y="4862"/>
                        <a:pt x="8942" y="4839"/>
                        <a:pt x="8930" y="4839"/>
                      </a:cubicBezTo>
                      <a:lnTo>
                        <a:pt x="5811" y="3148"/>
                      </a:lnTo>
                      <a:lnTo>
                        <a:pt x="5930" y="2969"/>
                      </a:lnTo>
                      <a:cubicBezTo>
                        <a:pt x="5978" y="2898"/>
                        <a:pt x="5966" y="2803"/>
                        <a:pt x="5894" y="2755"/>
                      </a:cubicBezTo>
                      <a:cubicBezTo>
                        <a:pt x="5864" y="2742"/>
                        <a:pt x="5834" y="2735"/>
                        <a:pt x="5806" y="2735"/>
                      </a:cubicBezTo>
                      <a:cubicBezTo>
                        <a:pt x="5756" y="2735"/>
                        <a:pt x="5710" y="2757"/>
                        <a:pt x="5680" y="2803"/>
                      </a:cubicBezTo>
                      <a:lnTo>
                        <a:pt x="5358" y="3326"/>
                      </a:lnTo>
                      <a:cubicBezTo>
                        <a:pt x="5335" y="3350"/>
                        <a:pt x="5323" y="3374"/>
                        <a:pt x="5323" y="3398"/>
                      </a:cubicBezTo>
                      <a:lnTo>
                        <a:pt x="5323" y="4684"/>
                      </a:lnTo>
                      <a:cubicBezTo>
                        <a:pt x="5323" y="4946"/>
                        <a:pt x="5097" y="5172"/>
                        <a:pt x="4835" y="5172"/>
                      </a:cubicBezTo>
                      <a:cubicBezTo>
                        <a:pt x="4561" y="5172"/>
                        <a:pt x="4346" y="4946"/>
                        <a:pt x="4346" y="4684"/>
                      </a:cubicBezTo>
                      <a:lnTo>
                        <a:pt x="4346" y="3410"/>
                      </a:lnTo>
                      <a:lnTo>
                        <a:pt x="4620" y="2267"/>
                      </a:lnTo>
                      <a:close/>
                      <a:moveTo>
                        <a:pt x="2680" y="1767"/>
                      </a:moveTo>
                      <a:lnTo>
                        <a:pt x="2918" y="1898"/>
                      </a:lnTo>
                      <a:lnTo>
                        <a:pt x="941" y="5303"/>
                      </a:lnTo>
                      <a:lnTo>
                        <a:pt x="703" y="5172"/>
                      </a:lnTo>
                      <a:lnTo>
                        <a:pt x="2680" y="1767"/>
                      </a:lnTo>
                      <a:close/>
                      <a:moveTo>
                        <a:pt x="3180" y="4743"/>
                      </a:moveTo>
                      <a:cubicBezTo>
                        <a:pt x="3287" y="4743"/>
                        <a:pt x="3370" y="4779"/>
                        <a:pt x="3442" y="4874"/>
                      </a:cubicBezTo>
                      <a:cubicBezTo>
                        <a:pt x="3561" y="5017"/>
                        <a:pt x="3525" y="5231"/>
                        <a:pt x="3370" y="5339"/>
                      </a:cubicBezTo>
                      <a:lnTo>
                        <a:pt x="2322" y="6112"/>
                      </a:lnTo>
                      <a:cubicBezTo>
                        <a:pt x="2262" y="6150"/>
                        <a:pt x="2194" y="6169"/>
                        <a:pt x="2127" y="6169"/>
                      </a:cubicBezTo>
                      <a:cubicBezTo>
                        <a:pt x="2023" y="6169"/>
                        <a:pt x="1923" y="6123"/>
                        <a:pt x="1858" y="6029"/>
                      </a:cubicBezTo>
                      <a:cubicBezTo>
                        <a:pt x="1751" y="5886"/>
                        <a:pt x="1787" y="5672"/>
                        <a:pt x="1929" y="5565"/>
                      </a:cubicBezTo>
                      <a:lnTo>
                        <a:pt x="2989" y="4803"/>
                      </a:lnTo>
                      <a:cubicBezTo>
                        <a:pt x="3049" y="4755"/>
                        <a:pt x="3120" y="4743"/>
                        <a:pt x="3180" y="4743"/>
                      </a:cubicBezTo>
                      <a:close/>
                      <a:moveTo>
                        <a:pt x="3775" y="5493"/>
                      </a:moveTo>
                      <a:cubicBezTo>
                        <a:pt x="3870" y="5493"/>
                        <a:pt x="3954" y="5553"/>
                        <a:pt x="4013" y="5636"/>
                      </a:cubicBezTo>
                      <a:cubicBezTo>
                        <a:pt x="4132" y="5779"/>
                        <a:pt x="4085" y="5993"/>
                        <a:pt x="3942" y="6089"/>
                      </a:cubicBezTo>
                      <a:lnTo>
                        <a:pt x="3132" y="6708"/>
                      </a:lnTo>
                      <a:cubicBezTo>
                        <a:pt x="3076" y="6745"/>
                        <a:pt x="3013" y="6764"/>
                        <a:pt x="2949" y="6764"/>
                      </a:cubicBezTo>
                      <a:cubicBezTo>
                        <a:pt x="2851" y="6764"/>
                        <a:pt x="2752" y="6718"/>
                        <a:pt x="2680" y="6624"/>
                      </a:cubicBezTo>
                      <a:cubicBezTo>
                        <a:pt x="2572" y="6482"/>
                        <a:pt x="2596" y="6255"/>
                        <a:pt x="2751" y="6148"/>
                      </a:cubicBezTo>
                      <a:lnTo>
                        <a:pt x="3537" y="5589"/>
                      </a:lnTo>
                      <a:cubicBezTo>
                        <a:pt x="3573" y="5565"/>
                        <a:pt x="3596" y="5541"/>
                        <a:pt x="3620" y="5529"/>
                      </a:cubicBezTo>
                      <a:cubicBezTo>
                        <a:pt x="3668" y="5517"/>
                        <a:pt x="3715" y="5493"/>
                        <a:pt x="3775" y="5493"/>
                      </a:cubicBezTo>
                      <a:close/>
                      <a:moveTo>
                        <a:pt x="4359" y="6281"/>
                      </a:moveTo>
                      <a:cubicBezTo>
                        <a:pt x="4454" y="6281"/>
                        <a:pt x="4550" y="6321"/>
                        <a:pt x="4620" y="6398"/>
                      </a:cubicBezTo>
                      <a:cubicBezTo>
                        <a:pt x="4739" y="6553"/>
                        <a:pt x="4704" y="6755"/>
                        <a:pt x="4549" y="6863"/>
                      </a:cubicBezTo>
                      <a:lnTo>
                        <a:pt x="3954" y="7303"/>
                      </a:lnTo>
                      <a:cubicBezTo>
                        <a:pt x="3898" y="7331"/>
                        <a:pt x="3829" y="7358"/>
                        <a:pt x="3767" y="7358"/>
                      </a:cubicBezTo>
                      <a:cubicBezTo>
                        <a:pt x="3749" y="7358"/>
                        <a:pt x="3732" y="7356"/>
                        <a:pt x="3715" y="7351"/>
                      </a:cubicBezTo>
                      <a:cubicBezTo>
                        <a:pt x="3620" y="7339"/>
                        <a:pt x="3549" y="7303"/>
                        <a:pt x="3513" y="7220"/>
                      </a:cubicBezTo>
                      <a:cubicBezTo>
                        <a:pt x="3406" y="7077"/>
                        <a:pt x="3430" y="6863"/>
                        <a:pt x="3584" y="6755"/>
                      </a:cubicBezTo>
                      <a:lnTo>
                        <a:pt x="4144" y="6363"/>
                      </a:lnTo>
                      <a:lnTo>
                        <a:pt x="4168" y="6339"/>
                      </a:lnTo>
                      <a:cubicBezTo>
                        <a:pt x="4226" y="6300"/>
                        <a:pt x="4292" y="6281"/>
                        <a:pt x="4359" y="6281"/>
                      </a:cubicBezTo>
                      <a:close/>
                      <a:moveTo>
                        <a:pt x="2870" y="2553"/>
                      </a:moveTo>
                      <a:lnTo>
                        <a:pt x="3156" y="2707"/>
                      </a:lnTo>
                      <a:cubicBezTo>
                        <a:pt x="3173" y="2725"/>
                        <a:pt x="3197" y="2736"/>
                        <a:pt x="3218" y="2736"/>
                      </a:cubicBezTo>
                      <a:cubicBezTo>
                        <a:pt x="3226" y="2736"/>
                        <a:pt x="3233" y="2734"/>
                        <a:pt x="3239" y="2731"/>
                      </a:cubicBezTo>
                      <a:lnTo>
                        <a:pt x="3942" y="2636"/>
                      </a:lnTo>
                      <a:lnTo>
                        <a:pt x="4192" y="2743"/>
                      </a:lnTo>
                      <a:lnTo>
                        <a:pt x="4049" y="3338"/>
                      </a:lnTo>
                      <a:lnTo>
                        <a:pt x="4049" y="3362"/>
                      </a:lnTo>
                      <a:lnTo>
                        <a:pt x="4049" y="4648"/>
                      </a:lnTo>
                      <a:cubicBezTo>
                        <a:pt x="4049" y="5077"/>
                        <a:pt x="4406" y="5434"/>
                        <a:pt x="4835" y="5434"/>
                      </a:cubicBezTo>
                      <a:cubicBezTo>
                        <a:pt x="5263" y="5434"/>
                        <a:pt x="5620" y="5077"/>
                        <a:pt x="5620" y="4648"/>
                      </a:cubicBezTo>
                      <a:lnTo>
                        <a:pt x="5620" y="3410"/>
                      </a:lnTo>
                      <a:lnTo>
                        <a:pt x="5656" y="3362"/>
                      </a:lnTo>
                      <a:lnTo>
                        <a:pt x="8776" y="5065"/>
                      </a:lnTo>
                      <a:cubicBezTo>
                        <a:pt x="8942" y="5184"/>
                        <a:pt x="9002" y="5374"/>
                        <a:pt x="8907" y="5541"/>
                      </a:cubicBezTo>
                      <a:cubicBezTo>
                        <a:pt x="8850" y="5654"/>
                        <a:pt x="8745" y="5717"/>
                        <a:pt x="8631" y="5717"/>
                      </a:cubicBezTo>
                      <a:cubicBezTo>
                        <a:pt x="8576" y="5717"/>
                        <a:pt x="8520" y="5703"/>
                        <a:pt x="8466" y="5672"/>
                      </a:cubicBezTo>
                      <a:lnTo>
                        <a:pt x="6740" y="4743"/>
                      </a:lnTo>
                      <a:cubicBezTo>
                        <a:pt x="6711" y="4727"/>
                        <a:pt x="6682" y="4719"/>
                        <a:pt x="6655" y="4719"/>
                      </a:cubicBezTo>
                      <a:cubicBezTo>
                        <a:pt x="6603" y="4719"/>
                        <a:pt x="6557" y="4748"/>
                        <a:pt x="6525" y="4803"/>
                      </a:cubicBezTo>
                      <a:cubicBezTo>
                        <a:pt x="6490" y="4874"/>
                        <a:pt x="6513" y="4958"/>
                        <a:pt x="6585" y="5005"/>
                      </a:cubicBezTo>
                      <a:lnTo>
                        <a:pt x="8037" y="5791"/>
                      </a:lnTo>
                      <a:cubicBezTo>
                        <a:pt x="8192" y="5886"/>
                        <a:pt x="8252" y="6077"/>
                        <a:pt x="8168" y="6243"/>
                      </a:cubicBezTo>
                      <a:cubicBezTo>
                        <a:pt x="8104" y="6356"/>
                        <a:pt x="7996" y="6415"/>
                        <a:pt x="7881" y="6415"/>
                      </a:cubicBezTo>
                      <a:cubicBezTo>
                        <a:pt x="7826" y="6415"/>
                        <a:pt x="7770" y="6401"/>
                        <a:pt x="7716" y="6374"/>
                      </a:cubicBezTo>
                      <a:lnTo>
                        <a:pt x="6251" y="5565"/>
                      </a:lnTo>
                      <a:cubicBezTo>
                        <a:pt x="6226" y="5554"/>
                        <a:pt x="6200" y="5548"/>
                        <a:pt x="6175" y="5548"/>
                      </a:cubicBezTo>
                      <a:cubicBezTo>
                        <a:pt x="6120" y="5548"/>
                        <a:pt x="6070" y="5575"/>
                        <a:pt x="6037" y="5624"/>
                      </a:cubicBezTo>
                      <a:cubicBezTo>
                        <a:pt x="5990" y="5708"/>
                        <a:pt x="6025" y="5791"/>
                        <a:pt x="6097" y="5839"/>
                      </a:cubicBezTo>
                      <a:lnTo>
                        <a:pt x="7287" y="6493"/>
                      </a:lnTo>
                      <a:cubicBezTo>
                        <a:pt x="7454" y="6577"/>
                        <a:pt x="7514" y="6779"/>
                        <a:pt x="7418" y="6934"/>
                      </a:cubicBezTo>
                      <a:cubicBezTo>
                        <a:pt x="7360" y="7050"/>
                        <a:pt x="7250" y="7114"/>
                        <a:pt x="7132" y="7114"/>
                      </a:cubicBezTo>
                      <a:cubicBezTo>
                        <a:pt x="7081" y="7114"/>
                        <a:pt x="7028" y="7102"/>
                        <a:pt x="6978" y="7077"/>
                      </a:cubicBezTo>
                      <a:lnTo>
                        <a:pt x="5728" y="6386"/>
                      </a:lnTo>
                      <a:cubicBezTo>
                        <a:pt x="5705" y="6371"/>
                        <a:pt x="5680" y="6365"/>
                        <a:pt x="5655" y="6365"/>
                      </a:cubicBezTo>
                      <a:cubicBezTo>
                        <a:pt x="5601" y="6365"/>
                        <a:pt x="5546" y="6397"/>
                        <a:pt x="5513" y="6446"/>
                      </a:cubicBezTo>
                      <a:cubicBezTo>
                        <a:pt x="5478" y="6517"/>
                        <a:pt x="5501" y="6613"/>
                        <a:pt x="5573" y="6660"/>
                      </a:cubicBezTo>
                      <a:lnTo>
                        <a:pt x="6549" y="7172"/>
                      </a:lnTo>
                      <a:cubicBezTo>
                        <a:pt x="6704" y="7267"/>
                        <a:pt x="6763" y="7458"/>
                        <a:pt x="6680" y="7625"/>
                      </a:cubicBezTo>
                      <a:cubicBezTo>
                        <a:pt x="6616" y="7737"/>
                        <a:pt x="6508" y="7801"/>
                        <a:pt x="6393" y="7801"/>
                      </a:cubicBezTo>
                      <a:cubicBezTo>
                        <a:pt x="6338" y="7801"/>
                        <a:pt x="6282" y="7786"/>
                        <a:pt x="6228" y="7756"/>
                      </a:cubicBezTo>
                      <a:lnTo>
                        <a:pt x="5549" y="7386"/>
                      </a:lnTo>
                      <a:cubicBezTo>
                        <a:pt x="5549" y="7255"/>
                        <a:pt x="5501" y="7101"/>
                        <a:pt x="5406" y="6994"/>
                      </a:cubicBezTo>
                      <a:cubicBezTo>
                        <a:pt x="5299" y="6851"/>
                        <a:pt x="5132" y="6755"/>
                        <a:pt x="4954" y="6744"/>
                      </a:cubicBezTo>
                      <a:lnTo>
                        <a:pt x="4954" y="6696"/>
                      </a:lnTo>
                      <a:cubicBezTo>
                        <a:pt x="4977" y="6541"/>
                        <a:pt x="4930" y="6363"/>
                        <a:pt x="4835" y="6220"/>
                      </a:cubicBezTo>
                      <a:cubicBezTo>
                        <a:pt x="4716" y="6077"/>
                        <a:pt x="4549" y="5982"/>
                        <a:pt x="4370" y="5970"/>
                      </a:cubicBezTo>
                      <a:lnTo>
                        <a:pt x="4370" y="5922"/>
                      </a:lnTo>
                      <a:cubicBezTo>
                        <a:pt x="4406" y="5767"/>
                        <a:pt x="4358" y="5589"/>
                        <a:pt x="4251" y="5446"/>
                      </a:cubicBezTo>
                      <a:cubicBezTo>
                        <a:pt x="4132" y="5303"/>
                        <a:pt x="3965" y="5208"/>
                        <a:pt x="3787" y="5196"/>
                      </a:cubicBezTo>
                      <a:lnTo>
                        <a:pt x="3787" y="5148"/>
                      </a:lnTo>
                      <a:cubicBezTo>
                        <a:pt x="3823" y="4993"/>
                        <a:pt x="3775" y="4815"/>
                        <a:pt x="3668" y="4672"/>
                      </a:cubicBezTo>
                      <a:cubicBezTo>
                        <a:pt x="3547" y="4516"/>
                        <a:pt x="3359" y="4432"/>
                        <a:pt x="3172" y="4432"/>
                      </a:cubicBezTo>
                      <a:cubicBezTo>
                        <a:pt x="3044" y="4432"/>
                        <a:pt x="2917" y="4471"/>
                        <a:pt x="2811" y="4553"/>
                      </a:cubicBezTo>
                      <a:lnTo>
                        <a:pt x="1763" y="5315"/>
                      </a:lnTo>
                      <a:lnTo>
                        <a:pt x="1394" y="5112"/>
                      </a:lnTo>
                      <a:lnTo>
                        <a:pt x="2870" y="2553"/>
                      </a:lnTo>
                      <a:close/>
                      <a:moveTo>
                        <a:pt x="4936" y="7026"/>
                      </a:moveTo>
                      <a:cubicBezTo>
                        <a:pt x="5036" y="7026"/>
                        <a:pt x="5132" y="7070"/>
                        <a:pt x="5204" y="7148"/>
                      </a:cubicBezTo>
                      <a:cubicBezTo>
                        <a:pt x="5251" y="7244"/>
                        <a:pt x="5275" y="7315"/>
                        <a:pt x="5263" y="7398"/>
                      </a:cubicBezTo>
                      <a:cubicBezTo>
                        <a:pt x="5251" y="7494"/>
                        <a:pt x="5204" y="7565"/>
                        <a:pt x="5132" y="7625"/>
                      </a:cubicBezTo>
                      <a:lnTo>
                        <a:pt x="4787" y="7875"/>
                      </a:lnTo>
                      <a:cubicBezTo>
                        <a:pt x="4729" y="7918"/>
                        <a:pt x="4658" y="7940"/>
                        <a:pt x="4588" y="7940"/>
                      </a:cubicBezTo>
                      <a:cubicBezTo>
                        <a:pt x="4487" y="7940"/>
                        <a:pt x="4386" y="7895"/>
                        <a:pt x="4323" y="7803"/>
                      </a:cubicBezTo>
                      <a:cubicBezTo>
                        <a:pt x="4215" y="7660"/>
                        <a:pt x="4251" y="7446"/>
                        <a:pt x="4406" y="7339"/>
                      </a:cubicBezTo>
                      <a:lnTo>
                        <a:pt x="4727" y="7101"/>
                      </a:lnTo>
                      <a:lnTo>
                        <a:pt x="4739" y="7089"/>
                      </a:lnTo>
                      <a:cubicBezTo>
                        <a:pt x="4802" y="7046"/>
                        <a:pt x="4870" y="7026"/>
                        <a:pt x="4936" y="7026"/>
                      </a:cubicBezTo>
                      <a:close/>
                      <a:moveTo>
                        <a:pt x="180" y="0"/>
                      </a:moveTo>
                      <a:cubicBezTo>
                        <a:pt x="125" y="0"/>
                        <a:pt x="69" y="27"/>
                        <a:pt x="36" y="76"/>
                      </a:cubicBezTo>
                      <a:cubicBezTo>
                        <a:pt x="1" y="159"/>
                        <a:pt x="24" y="243"/>
                        <a:pt x="96" y="290"/>
                      </a:cubicBezTo>
                      <a:lnTo>
                        <a:pt x="2382" y="1600"/>
                      </a:lnTo>
                      <a:lnTo>
                        <a:pt x="405" y="5005"/>
                      </a:lnTo>
                      <a:lnTo>
                        <a:pt x="251" y="4922"/>
                      </a:lnTo>
                      <a:cubicBezTo>
                        <a:pt x="221" y="4905"/>
                        <a:pt x="192" y="4897"/>
                        <a:pt x="164" y="4897"/>
                      </a:cubicBezTo>
                      <a:cubicBezTo>
                        <a:pt x="113" y="4897"/>
                        <a:pt x="67" y="4923"/>
                        <a:pt x="36" y="4969"/>
                      </a:cubicBezTo>
                      <a:cubicBezTo>
                        <a:pt x="1" y="5053"/>
                        <a:pt x="24" y="5136"/>
                        <a:pt x="96" y="5184"/>
                      </a:cubicBezTo>
                      <a:lnTo>
                        <a:pt x="882" y="5648"/>
                      </a:lnTo>
                      <a:cubicBezTo>
                        <a:pt x="908" y="5663"/>
                        <a:pt x="934" y="5670"/>
                        <a:pt x="959" y="5670"/>
                      </a:cubicBezTo>
                      <a:cubicBezTo>
                        <a:pt x="1014" y="5670"/>
                        <a:pt x="1063" y="5638"/>
                        <a:pt x="1096" y="5589"/>
                      </a:cubicBezTo>
                      <a:lnTo>
                        <a:pt x="1215" y="5398"/>
                      </a:lnTo>
                      <a:lnTo>
                        <a:pt x="1537" y="5565"/>
                      </a:lnTo>
                      <a:cubicBezTo>
                        <a:pt x="1441" y="5779"/>
                        <a:pt x="1453" y="6029"/>
                        <a:pt x="1584" y="6220"/>
                      </a:cubicBezTo>
                      <a:cubicBezTo>
                        <a:pt x="1703" y="6386"/>
                        <a:pt x="1894" y="6482"/>
                        <a:pt x="2096" y="6482"/>
                      </a:cubicBezTo>
                      <a:cubicBezTo>
                        <a:pt x="2156" y="6482"/>
                        <a:pt x="2227" y="6458"/>
                        <a:pt x="2287" y="6446"/>
                      </a:cubicBezTo>
                      <a:cubicBezTo>
                        <a:pt x="2287" y="6577"/>
                        <a:pt x="2334" y="6720"/>
                        <a:pt x="2406" y="6815"/>
                      </a:cubicBezTo>
                      <a:cubicBezTo>
                        <a:pt x="2525" y="6982"/>
                        <a:pt x="2715" y="7077"/>
                        <a:pt x="2906" y="7077"/>
                      </a:cubicBezTo>
                      <a:cubicBezTo>
                        <a:pt x="2965" y="7077"/>
                        <a:pt x="3049" y="7053"/>
                        <a:pt x="3108" y="7041"/>
                      </a:cubicBezTo>
                      <a:cubicBezTo>
                        <a:pt x="3108" y="7160"/>
                        <a:pt x="3144" y="7291"/>
                        <a:pt x="3227" y="7398"/>
                      </a:cubicBezTo>
                      <a:cubicBezTo>
                        <a:pt x="3323" y="7529"/>
                        <a:pt x="3465" y="7625"/>
                        <a:pt x="3644" y="7648"/>
                      </a:cubicBezTo>
                      <a:cubicBezTo>
                        <a:pt x="3668" y="7648"/>
                        <a:pt x="3715" y="7672"/>
                        <a:pt x="3739" y="7672"/>
                      </a:cubicBezTo>
                      <a:cubicBezTo>
                        <a:pt x="3799" y="7672"/>
                        <a:pt x="3882" y="7648"/>
                        <a:pt x="3942" y="7636"/>
                      </a:cubicBezTo>
                      <a:cubicBezTo>
                        <a:pt x="3942" y="7767"/>
                        <a:pt x="3977" y="7886"/>
                        <a:pt x="4061" y="7994"/>
                      </a:cubicBezTo>
                      <a:cubicBezTo>
                        <a:pt x="4156" y="8125"/>
                        <a:pt x="4299" y="8220"/>
                        <a:pt x="4477" y="8244"/>
                      </a:cubicBezTo>
                      <a:cubicBezTo>
                        <a:pt x="4501" y="8244"/>
                        <a:pt x="4549" y="8267"/>
                        <a:pt x="4573" y="8267"/>
                      </a:cubicBezTo>
                      <a:cubicBezTo>
                        <a:pt x="4716" y="8267"/>
                        <a:pt x="4835" y="8220"/>
                        <a:pt x="4954" y="8148"/>
                      </a:cubicBezTo>
                      <a:lnTo>
                        <a:pt x="5287" y="7886"/>
                      </a:lnTo>
                      <a:cubicBezTo>
                        <a:pt x="5370" y="7827"/>
                        <a:pt x="5430" y="7767"/>
                        <a:pt x="5466" y="7684"/>
                      </a:cubicBezTo>
                      <a:lnTo>
                        <a:pt x="6085" y="8029"/>
                      </a:lnTo>
                      <a:cubicBezTo>
                        <a:pt x="6168" y="8077"/>
                        <a:pt x="6275" y="8101"/>
                        <a:pt x="6382" y="8101"/>
                      </a:cubicBezTo>
                      <a:cubicBezTo>
                        <a:pt x="6442" y="8101"/>
                        <a:pt x="6501" y="8089"/>
                        <a:pt x="6561" y="8077"/>
                      </a:cubicBezTo>
                      <a:cubicBezTo>
                        <a:pt x="6716" y="8029"/>
                        <a:pt x="6859" y="7922"/>
                        <a:pt x="6930" y="7779"/>
                      </a:cubicBezTo>
                      <a:cubicBezTo>
                        <a:pt x="6990" y="7648"/>
                        <a:pt x="7013" y="7529"/>
                        <a:pt x="7002" y="7398"/>
                      </a:cubicBezTo>
                      <a:cubicBezTo>
                        <a:pt x="7049" y="7398"/>
                        <a:pt x="7073" y="7422"/>
                        <a:pt x="7121" y="7422"/>
                      </a:cubicBezTo>
                      <a:cubicBezTo>
                        <a:pt x="7347" y="7422"/>
                        <a:pt x="7573" y="7303"/>
                        <a:pt x="7668" y="7089"/>
                      </a:cubicBezTo>
                      <a:cubicBezTo>
                        <a:pt x="7728" y="6970"/>
                        <a:pt x="7764" y="6839"/>
                        <a:pt x="7752" y="6720"/>
                      </a:cubicBezTo>
                      <a:cubicBezTo>
                        <a:pt x="7787" y="6720"/>
                        <a:pt x="7823" y="6732"/>
                        <a:pt x="7871" y="6732"/>
                      </a:cubicBezTo>
                      <a:cubicBezTo>
                        <a:pt x="8085" y="6732"/>
                        <a:pt x="8311" y="6613"/>
                        <a:pt x="8418" y="6410"/>
                      </a:cubicBezTo>
                      <a:cubicBezTo>
                        <a:pt x="8478" y="6291"/>
                        <a:pt x="8502" y="6172"/>
                        <a:pt x="8490" y="6029"/>
                      </a:cubicBezTo>
                      <a:cubicBezTo>
                        <a:pt x="8537" y="6029"/>
                        <a:pt x="8561" y="6053"/>
                        <a:pt x="8609" y="6053"/>
                      </a:cubicBezTo>
                      <a:cubicBezTo>
                        <a:pt x="8668" y="6053"/>
                        <a:pt x="8728" y="6029"/>
                        <a:pt x="8787" y="6017"/>
                      </a:cubicBezTo>
                      <a:cubicBezTo>
                        <a:pt x="8954" y="5970"/>
                        <a:pt x="9085" y="5874"/>
                        <a:pt x="9157" y="5720"/>
                      </a:cubicBezTo>
                      <a:cubicBezTo>
                        <a:pt x="9240" y="5577"/>
                        <a:pt x="9264" y="5410"/>
                        <a:pt x="9204" y="5243"/>
                      </a:cubicBezTo>
                      <a:cubicBezTo>
                        <a:pt x="9192" y="5196"/>
                        <a:pt x="9180" y="5172"/>
                        <a:pt x="9157" y="5136"/>
                      </a:cubicBezTo>
                      <a:lnTo>
                        <a:pt x="9430" y="4946"/>
                      </a:lnTo>
                      <a:lnTo>
                        <a:pt x="9561" y="5124"/>
                      </a:lnTo>
                      <a:cubicBezTo>
                        <a:pt x="9591" y="5161"/>
                        <a:pt x="9644" y="5180"/>
                        <a:pt x="9694" y="5180"/>
                      </a:cubicBezTo>
                      <a:cubicBezTo>
                        <a:pt x="9724" y="5180"/>
                        <a:pt x="9753" y="5173"/>
                        <a:pt x="9776" y="5160"/>
                      </a:cubicBezTo>
                      <a:lnTo>
                        <a:pt x="10192" y="4827"/>
                      </a:lnTo>
                      <a:cubicBezTo>
                        <a:pt x="10264" y="4743"/>
                        <a:pt x="10276" y="4648"/>
                        <a:pt x="10240" y="4577"/>
                      </a:cubicBezTo>
                      <a:cubicBezTo>
                        <a:pt x="10210" y="4539"/>
                        <a:pt x="10157" y="4521"/>
                        <a:pt x="10107" y="4521"/>
                      </a:cubicBezTo>
                      <a:cubicBezTo>
                        <a:pt x="10077" y="4521"/>
                        <a:pt x="10048" y="4527"/>
                        <a:pt x="10026" y="4541"/>
                      </a:cubicBezTo>
                      <a:lnTo>
                        <a:pt x="9728" y="4779"/>
                      </a:lnTo>
                      <a:lnTo>
                        <a:pt x="7347" y="1671"/>
                      </a:lnTo>
                      <a:lnTo>
                        <a:pt x="8704" y="790"/>
                      </a:lnTo>
                      <a:cubicBezTo>
                        <a:pt x="8776" y="755"/>
                        <a:pt x="8787" y="659"/>
                        <a:pt x="8752" y="588"/>
                      </a:cubicBezTo>
                      <a:cubicBezTo>
                        <a:pt x="8721" y="542"/>
                        <a:pt x="8670" y="516"/>
                        <a:pt x="8619" y="516"/>
                      </a:cubicBezTo>
                      <a:cubicBezTo>
                        <a:pt x="8591" y="516"/>
                        <a:pt x="8563" y="523"/>
                        <a:pt x="8537" y="540"/>
                      </a:cubicBezTo>
                      <a:lnTo>
                        <a:pt x="7049" y="1493"/>
                      </a:lnTo>
                      <a:cubicBezTo>
                        <a:pt x="6978" y="1540"/>
                        <a:pt x="6966" y="1648"/>
                        <a:pt x="7002" y="1719"/>
                      </a:cubicBezTo>
                      <a:lnTo>
                        <a:pt x="7275" y="2076"/>
                      </a:lnTo>
                      <a:lnTo>
                        <a:pt x="7085" y="2219"/>
                      </a:lnTo>
                      <a:lnTo>
                        <a:pt x="6311" y="1969"/>
                      </a:lnTo>
                      <a:cubicBezTo>
                        <a:pt x="6287" y="1969"/>
                        <a:pt x="6275" y="1957"/>
                        <a:pt x="6263" y="1957"/>
                      </a:cubicBezTo>
                      <a:lnTo>
                        <a:pt x="4501" y="1957"/>
                      </a:lnTo>
                      <a:cubicBezTo>
                        <a:pt x="4430" y="1957"/>
                        <a:pt x="4370" y="2005"/>
                        <a:pt x="4358" y="2076"/>
                      </a:cubicBezTo>
                      <a:lnTo>
                        <a:pt x="4251" y="2481"/>
                      </a:lnTo>
                      <a:lnTo>
                        <a:pt x="4001" y="2374"/>
                      </a:lnTo>
                      <a:cubicBezTo>
                        <a:pt x="3965" y="2362"/>
                        <a:pt x="3954" y="2362"/>
                        <a:pt x="3930" y="2362"/>
                      </a:cubicBezTo>
                      <a:lnTo>
                        <a:pt x="3227" y="2433"/>
                      </a:lnTo>
                      <a:lnTo>
                        <a:pt x="2989" y="2302"/>
                      </a:lnTo>
                      <a:lnTo>
                        <a:pt x="3215" y="1910"/>
                      </a:lnTo>
                      <a:cubicBezTo>
                        <a:pt x="3251" y="1838"/>
                        <a:pt x="3227" y="1743"/>
                        <a:pt x="3156" y="1707"/>
                      </a:cubicBezTo>
                      <a:lnTo>
                        <a:pt x="251" y="16"/>
                      </a:lnTo>
                      <a:cubicBezTo>
                        <a:pt x="229" y="5"/>
                        <a:pt x="204" y="0"/>
                        <a:pt x="18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oogle Shape;13586;p63">
                  <a:extLst>
                    <a:ext uri="{FF2B5EF4-FFF2-40B4-BE49-F238E27FC236}">
                      <a16:creationId xmlns:a16="http://schemas.microsoft.com/office/drawing/2014/main" id="{62C0D0B3-8E77-43FC-913F-D38F912754AE}"/>
                    </a:ext>
                  </a:extLst>
                </p:cNvPr>
                <p:cNvSpPr/>
                <p:nvPr/>
              </p:nvSpPr>
              <p:spPr>
                <a:xfrm>
                  <a:off x="4079948" y="2679504"/>
                  <a:ext cx="49569" cy="359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8" h="847" extrusionOk="0">
                      <a:moveTo>
                        <a:pt x="999" y="0"/>
                      </a:moveTo>
                      <a:cubicBezTo>
                        <a:pt x="971" y="0"/>
                        <a:pt x="943" y="8"/>
                        <a:pt x="918" y="25"/>
                      </a:cubicBezTo>
                      <a:lnTo>
                        <a:pt x="84" y="561"/>
                      </a:lnTo>
                      <a:cubicBezTo>
                        <a:pt x="13" y="608"/>
                        <a:pt x="1" y="692"/>
                        <a:pt x="37" y="775"/>
                      </a:cubicBezTo>
                      <a:cubicBezTo>
                        <a:pt x="72" y="811"/>
                        <a:pt x="120" y="846"/>
                        <a:pt x="156" y="846"/>
                      </a:cubicBezTo>
                      <a:cubicBezTo>
                        <a:pt x="191" y="846"/>
                        <a:pt x="215" y="823"/>
                        <a:pt x="239" y="811"/>
                      </a:cubicBezTo>
                      <a:lnTo>
                        <a:pt x="1073" y="275"/>
                      </a:lnTo>
                      <a:cubicBezTo>
                        <a:pt x="1156" y="239"/>
                        <a:pt x="1168" y="144"/>
                        <a:pt x="1132" y="72"/>
                      </a:cubicBezTo>
                      <a:cubicBezTo>
                        <a:pt x="1101" y="26"/>
                        <a:pt x="1051" y="0"/>
                        <a:pt x="99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121900" tIns="121900" rIns="121900" bIns="121900" anchor="ctr" anchorCtr="0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C99158F-28F3-4A46-A620-3DECF036A48F}"/>
              </a:ext>
            </a:extLst>
          </p:cNvPr>
          <p:cNvGrpSpPr/>
          <p:nvPr/>
        </p:nvGrpSpPr>
        <p:grpSpPr>
          <a:xfrm>
            <a:off x="4005013" y="2091236"/>
            <a:ext cx="289650" cy="257508"/>
            <a:chOff x="3843088" y="2151476"/>
            <a:chExt cx="403950" cy="368304"/>
          </a:xfrm>
        </p:grpSpPr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4EFE3F3-77AA-4812-BD42-5076BD014317}"/>
                </a:ext>
              </a:extLst>
            </p:cNvPr>
            <p:cNvSpPr>
              <a:spLocks/>
            </p:cNvSpPr>
            <p:nvPr/>
          </p:nvSpPr>
          <p:spPr>
            <a:xfrm>
              <a:off x="3843088" y="2151476"/>
              <a:ext cx="403950" cy="3683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74" name="Google Shape;9902;p57">
              <a:extLst>
                <a:ext uri="{FF2B5EF4-FFF2-40B4-BE49-F238E27FC236}">
                  <a16:creationId xmlns:a16="http://schemas.microsoft.com/office/drawing/2014/main" id="{4E678130-718C-4CDF-A7B7-3F35363803C5}"/>
                </a:ext>
              </a:extLst>
            </p:cNvPr>
            <p:cNvGrpSpPr>
              <a:grpSpLocks/>
            </p:cNvGrpSpPr>
            <p:nvPr/>
          </p:nvGrpSpPr>
          <p:grpSpPr>
            <a:xfrm>
              <a:off x="3919085" y="2209674"/>
              <a:ext cx="252002" cy="252006"/>
              <a:chOff x="4126815" y="2760704"/>
              <a:chExt cx="380393" cy="363118"/>
            </a:xfrm>
            <a:solidFill>
              <a:schemeClr val="bg1"/>
            </a:solidFill>
          </p:grpSpPr>
          <p:sp>
            <p:nvSpPr>
              <p:cNvPr id="75" name="Google Shape;9903;p57">
                <a:extLst>
                  <a:ext uri="{FF2B5EF4-FFF2-40B4-BE49-F238E27FC236}">
                    <a16:creationId xmlns:a16="http://schemas.microsoft.com/office/drawing/2014/main" id="{547B6BAB-5CA4-464B-A05E-16C34AE4FDF0}"/>
                  </a:ext>
                </a:extLst>
              </p:cNvPr>
              <p:cNvSpPr/>
              <p:nvPr/>
            </p:nvSpPr>
            <p:spPr>
              <a:xfrm>
                <a:off x="4219825" y="2822435"/>
                <a:ext cx="103267" cy="29056"/>
              </a:xfrm>
              <a:custGeom>
                <a:avLst/>
                <a:gdLst/>
                <a:ahLst/>
                <a:cxnLst/>
                <a:rect l="l" t="t" r="r" b="b"/>
                <a:pathLst>
                  <a:path w="3252" h="915" extrusionOk="0">
                    <a:moveTo>
                      <a:pt x="1620" y="0"/>
                    </a:moveTo>
                    <a:cubicBezTo>
                      <a:pt x="1025" y="0"/>
                      <a:pt x="477" y="215"/>
                      <a:pt x="60" y="631"/>
                    </a:cubicBezTo>
                    <a:cubicBezTo>
                      <a:pt x="1" y="691"/>
                      <a:pt x="1" y="810"/>
                      <a:pt x="60" y="869"/>
                    </a:cubicBezTo>
                    <a:cubicBezTo>
                      <a:pt x="90" y="899"/>
                      <a:pt x="132" y="914"/>
                      <a:pt x="175" y="914"/>
                    </a:cubicBezTo>
                    <a:cubicBezTo>
                      <a:pt x="218" y="914"/>
                      <a:pt x="263" y="899"/>
                      <a:pt x="298" y="869"/>
                    </a:cubicBezTo>
                    <a:cubicBezTo>
                      <a:pt x="656" y="512"/>
                      <a:pt x="1120" y="322"/>
                      <a:pt x="1620" y="322"/>
                    </a:cubicBezTo>
                    <a:cubicBezTo>
                      <a:pt x="2132" y="322"/>
                      <a:pt x="2596" y="512"/>
                      <a:pt x="2953" y="869"/>
                    </a:cubicBezTo>
                    <a:cubicBezTo>
                      <a:pt x="2983" y="899"/>
                      <a:pt x="3028" y="914"/>
                      <a:pt x="3073" y="914"/>
                    </a:cubicBezTo>
                    <a:cubicBezTo>
                      <a:pt x="3117" y="914"/>
                      <a:pt x="3162" y="899"/>
                      <a:pt x="3192" y="869"/>
                    </a:cubicBezTo>
                    <a:cubicBezTo>
                      <a:pt x="3251" y="810"/>
                      <a:pt x="3251" y="691"/>
                      <a:pt x="3192" y="631"/>
                    </a:cubicBezTo>
                    <a:cubicBezTo>
                      <a:pt x="2775" y="215"/>
                      <a:pt x="2215" y="0"/>
                      <a:pt x="162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Google Shape;9904;p57">
                <a:extLst>
                  <a:ext uri="{FF2B5EF4-FFF2-40B4-BE49-F238E27FC236}">
                    <a16:creationId xmlns:a16="http://schemas.microsoft.com/office/drawing/2014/main" id="{CB7B676A-B4A1-4CC0-885C-B1414DA479E7}"/>
                  </a:ext>
                </a:extLst>
              </p:cNvPr>
              <p:cNvSpPr/>
              <p:nvPr/>
            </p:nvSpPr>
            <p:spPr>
              <a:xfrm>
                <a:off x="4126815" y="2760704"/>
                <a:ext cx="380393" cy="363118"/>
              </a:xfrm>
              <a:custGeom>
                <a:avLst/>
                <a:gdLst/>
                <a:ahLst/>
                <a:cxnLst/>
                <a:rect l="l" t="t" r="r" b="b"/>
                <a:pathLst>
                  <a:path w="11979" h="11435" extrusionOk="0">
                    <a:moveTo>
                      <a:pt x="7621" y="6921"/>
                    </a:moveTo>
                    <a:lnTo>
                      <a:pt x="8061" y="7373"/>
                    </a:lnTo>
                    <a:lnTo>
                      <a:pt x="7787" y="7659"/>
                    </a:lnTo>
                    <a:lnTo>
                      <a:pt x="7335" y="7207"/>
                    </a:lnTo>
                    <a:cubicBezTo>
                      <a:pt x="7442" y="7123"/>
                      <a:pt x="7526" y="7016"/>
                      <a:pt x="7621" y="6921"/>
                    </a:cubicBezTo>
                    <a:close/>
                    <a:moveTo>
                      <a:pt x="4552" y="328"/>
                    </a:moveTo>
                    <a:cubicBezTo>
                      <a:pt x="5525" y="328"/>
                      <a:pt x="6496" y="700"/>
                      <a:pt x="7228" y="1444"/>
                    </a:cubicBezTo>
                    <a:cubicBezTo>
                      <a:pt x="8645" y="2861"/>
                      <a:pt x="8704" y="5076"/>
                      <a:pt x="7466" y="6564"/>
                    </a:cubicBezTo>
                    <a:cubicBezTo>
                      <a:pt x="7311" y="6766"/>
                      <a:pt x="7156" y="6909"/>
                      <a:pt x="6978" y="7064"/>
                    </a:cubicBezTo>
                    <a:cubicBezTo>
                      <a:pt x="6279" y="7651"/>
                      <a:pt x="5417" y="7944"/>
                      <a:pt x="4554" y="7944"/>
                    </a:cubicBezTo>
                    <a:cubicBezTo>
                      <a:pt x="3579" y="7944"/>
                      <a:pt x="2603" y="7571"/>
                      <a:pt x="1858" y="6826"/>
                    </a:cubicBezTo>
                    <a:cubicBezTo>
                      <a:pt x="370" y="5338"/>
                      <a:pt x="370" y="2921"/>
                      <a:pt x="1858" y="1444"/>
                    </a:cubicBezTo>
                    <a:cubicBezTo>
                      <a:pt x="2602" y="700"/>
                      <a:pt x="3579" y="328"/>
                      <a:pt x="4552" y="328"/>
                    </a:cubicBezTo>
                    <a:close/>
                    <a:moveTo>
                      <a:pt x="8518" y="7440"/>
                    </a:moveTo>
                    <a:cubicBezTo>
                      <a:pt x="8550" y="7440"/>
                      <a:pt x="8580" y="7453"/>
                      <a:pt x="8597" y="7481"/>
                    </a:cubicBezTo>
                    <a:lnTo>
                      <a:pt x="9061" y="7897"/>
                    </a:lnTo>
                    <a:lnTo>
                      <a:pt x="8276" y="8683"/>
                    </a:lnTo>
                    <a:lnTo>
                      <a:pt x="7883" y="8195"/>
                    </a:lnTo>
                    <a:cubicBezTo>
                      <a:pt x="7847" y="8135"/>
                      <a:pt x="7847" y="8052"/>
                      <a:pt x="7883" y="8016"/>
                    </a:cubicBezTo>
                    <a:lnTo>
                      <a:pt x="8418" y="7481"/>
                    </a:lnTo>
                    <a:cubicBezTo>
                      <a:pt x="8444" y="7456"/>
                      <a:pt x="8482" y="7440"/>
                      <a:pt x="8518" y="7440"/>
                    </a:cubicBezTo>
                    <a:close/>
                    <a:moveTo>
                      <a:pt x="9335" y="8100"/>
                    </a:moveTo>
                    <a:lnTo>
                      <a:pt x="11252" y="9779"/>
                    </a:lnTo>
                    <a:cubicBezTo>
                      <a:pt x="11574" y="10064"/>
                      <a:pt x="11597" y="10576"/>
                      <a:pt x="11276" y="10886"/>
                    </a:cubicBezTo>
                    <a:cubicBezTo>
                      <a:pt x="11128" y="11033"/>
                      <a:pt x="10940" y="11105"/>
                      <a:pt x="10752" y="11105"/>
                    </a:cubicBezTo>
                    <a:cubicBezTo>
                      <a:pt x="10544" y="11105"/>
                      <a:pt x="10336" y="11018"/>
                      <a:pt x="10181" y="10850"/>
                    </a:cubicBezTo>
                    <a:lnTo>
                      <a:pt x="8514" y="8921"/>
                    </a:lnTo>
                    <a:lnTo>
                      <a:pt x="9335" y="8100"/>
                    </a:lnTo>
                    <a:close/>
                    <a:moveTo>
                      <a:pt x="4543" y="1"/>
                    </a:moveTo>
                    <a:cubicBezTo>
                      <a:pt x="3483" y="1"/>
                      <a:pt x="2424" y="402"/>
                      <a:pt x="1620" y="1206"/>
                    </a:cubicBezTo>
                    <a:cubicBezTo>
                      <a:pt x="1" y="2837"/>
                      <a:pt x="1" y="5457"/>
                      <a:pt x="1620" y="7064"/>
                    </a:cubicBezTo>
                    <a:cubicBezTo>
                      <a:pt x="2431" y="7875"/>
                      <a:pt x="3489" y="8272"/>
                      <a:pt x="4543" y="8272"/>
                    </a:cubicBezTo>
                    <a:cubicBezTo>
                      <a:pt x="5440" y="8272"/>
                      <a:pt x="6334" y="7985"/>
                      <a:pt x="7073" y="7421"/>
                    </a:cubicBezTo>
                    <a:lnTo>
                      <a:pt x="7561" y="7909"/>
                    </a:lnTo>
                    <a:cubicBezTo>
                      <a:pt x="7490" y="8076"/>
                      <a:pt x="7502" y="8278"/>
                      <a:pt x="7633" y="8409"/>
                    </a:cubicBezTo>
                    <a:lnTo>
                      <a:pt x="9954" y="11064"/>
                    </a:lnTo>
                    <a:cubicBezTo>
                      <a:pt x="10171" y="11312"/>
                      <a:pt x="10471" y="11434"/>
                      <a:pt x="10771" y="11434"/>
                    </a:cubicBezTo>
                    <a:cubicBezTo>
                      <a:pt x="11049" y="11434"/>
                      <a:pt x="11326" y="11330"/>
                      <a:pt x="11538" y="11124"/>
                    </a:cubicBezTo>
                    <a:cubicBezTo>
                      <a:pt x="11978" y="10671"/>
                      <a:pt x="11955" y="9945"/>
                      <a:pt x="11478" y="9540"/>
                    </a:cubicBezTo>
                    <a:lnTo>
                      <a:pt x="8823" y="7219"/>
                    </a:lnTo>
                    <a:cubicBezTo>
                      <a:pt x="8737" y="7139"/>
                      <a:pt x="8629" y="7104"/>
                      <a:pt x="8522" y="7104"/>
                    </a:cubicBezTo>
                    <a:cubicBezTo>
                      <a:pt x="8453" y="7104"/>
                      <a:pt x="8384" y="7119"/>
                      <a:pt x="8323" y="7147"/>
                    </a:cubicBezTo>
                    <a:lnTo>
                      <a:pt x="7823" y="6659"/>
                    </a:lnTo>
                    <a:cubicBezTo>
                      <a:pt x="9073" y="5052"/>
                      <a:pt x="8978" y="2694"/>
                      <a:pt x="7466" y="1206"/>
                    </a:cubicBezTo>
                    <a:cubicBezTo>
                      <a:pt x="6662" y="402"/>
                      <a:pt x="5603" y="1"/>
                      <a:pt x="454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Google Shape;9905;p57">
                <a:extLst>
                  <a:ext uri="{FF2B5EF4-FFF2-40B4-BE49-F238E27FC236}">
                    <a16:creationId xmlns:a16="http://schemas.microsoft.com/office/drawing/2014/main" id="{FB3FED87-D208-42E1-9BEC-5D720774ADEF}"/>
                  </a:ext>
                </a:extLst>
              </p:cNvPr>
              <p:cNvSpPr/>
              <p:nvPr/>
            </p:nvSpPr>
            <p:spPr>
              <a:xfrm>
                <a:off x="4278826" y="2791379"/>
                <a:ext cx="103998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275" h="6360" extrusionOk="0">
                    <a:moveTo>
                      <a:pt x="191" y="0"/>
                    </a:moveTo>
                    <a:cubicBezTo>
                      <a:pt x="106" y="0"/>
                      <a:pt x="35" y="59"/>
                      <a:pt x="24" y="157"/>
                    </a:cubicBezTo>
                    <a:cubicBezTo>
                      <a:pt x="0" y="264"/>
                      <a:pt x="60" y="335"/>
                      <a:pt x="167" y="347"/>
                    </a:cubicBezTo>
                    <a:cubicBezTo>
                      <a:pt x="798" y="442"/>
                      <a:pt x="1345" y="716"/>
                      <a:pt x="1786" y="1169"/>
                    </a:cubicBezTo>
                    <a:cubicBezTo>
                      <a:pt x="2905" y="2288"/>
                      <a:pt x="2905" y="4110"/>
                      <a:pt x="1786" y="5229"/>
                    </a:cubicBezTo>
                    <a:cubicBezTo>
                      <a:pt x="1345" y="5645"/>
                      <a:pt x="774" y="5931"/>
                      <a:pt x="167" y="6015"/>
                    </a:cubicBezTo>
                    <a:cubicBezTo>
                      <a:pt x="83" y="6038"/>
                      <a:pt x="24" y="6122"/>
                      <a:pt x="24" y="6217"/>
                    </a:cubicBezTo>
                    <a:cubicBezTo>
                      <a:pt x="36" y="6300"/>
                      <a:pt x="107" y="6360"/>
                      <a:pt x="179" y="6360"/>
                    </a:cubicBezTo>
                    <a:lnTo>
                      <a:pt x="214" y="6360"/>
                    </a:lnTo>
                    <a:cubicBezTo>
                      <a:pt x="917" y="6253"/>
                      <a:pt x="1536" y="5943"/>
                      <a:pt x="2024" y="5455"/>
                    </a:cubicBezTo>
                    <a:cubicBezTo>
                      <a:pt x="3274" y="4205"/>
                      <a:pt x="3274" y="2169"/>
                      <a:pt x="2024" y="919"/>
                    </a:cubicBezTo>
                    <a:cubicBezTo>
                      <a:pt x="1536" y="419"/>
                      <a:pt x="917" y="109"/>
                      <a:pt x="214" y="2"/>
                    </a:cubicBezTo>
                    <a:cubicBezTo>
                      <a:pt x="206" y="1"/>
                      <a:pt x="198" y="0"/>
                      <a:pt x="19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Google Shape;9906;p57">
                <a:extLst>
                  <a:ext uri="{FF2B5EF4-FFF2-40B4-BE49-F238E27FC236}">
                    <a16:creationId xmlns:a16="http://schemas.microsoft.com/office/drawing/2014/main" id="{B118434F-CF5B-4FB4-A093-1C2C1F276A15}"/>
                  </a:ext>
                </a:extLst>
              </p:cNvPr>
              <p:cNvSpPr/>
              <p:nvPr/>
            </p:nvSpPr>
            <p:spPr>
              <a:xfrm>
                <a:off x="4159332" y="2791379"/>
                <a:ext cx="105903" cy="201962"/>
              </a:xfrm>
              <a:custGeom>
                <a:avLst/>
                <a:gdLst/>
                <a:ahLst/>
                <a:cxnLst/>
                <a:rect l="l" t="t" r="r" b="b"/>
                <a:pathLst>
                  <a:path w="3335" h="6360" extrusionOk="0">
                    <a:moveTo>
                      <a:pt x="3162" y="1"/>
                    </a:moveTo>
                    <a:cubicBezTo>
                      <a:pt x="3156" y="1"/>
                      <a:pt x="3150" y="1"/>
                      <a:pt x="3144" y="2"/>
                    </a:cubicBezTo>
                    <a:cubicBezTo>
                      <a:pt x="2430" y="61"/>
                      <a:pt x="1775" y="383"/>
                      <a:pt x="1251" y="895"/>
                    </a:cubicBezTo>
                    <a:cubicBezTo>
                      <a:pt x="1" y="2145"/>
                      <a:pt x="1" y="4193"/>
                      <a:pt x="1251" y="5443"/>
                    </a:cubicBezTo>
                    <a:cubicBezTo>
                      <a:pt x="1775" y="5955"/>
                      <a:pt x="2430" y="6277"/>
                      <a:pt x="3144" y="6360"/>
                    </a:cubicBezTo>
                    <a:lnTo>
                      <a:pt x="3156" y="6360"/>
                    </a:lnTo>
                    <a:cubicBezTo>
                      <a:pt x="3251" y="6360"/>
                      <a:pt x="3311" y="6300"/>
                      <a:pt x="3323" y="6217"/>
                    </a:cubicBezTo>
                    <a:cubicBezTo>
                      <a:pt x="3334" y="6122"/>
                      <a:pt x="3263" y="6038"/>
                      <a:pt x="3168" y="6038"/>
                    </a:cubicBezTo>
                    <a:cubicBezTo>
                      <a:pt x="2537" y="5955"/>
                      <a:pt x="1941" y="5681"/>
                      <a:pt x="1477" y="5217"/>
                    </a:cubicBezTo>
                    <a:cubicBezTo>
                      <a:pt x="358" y="4098"/>
                      <a:pt x="358" y="2264"/>
                      <a:pt x="1477" y="1157"/>
                    </a:cubicBezTo>
                    <a:cubicBezTo>
                      <a:pt x="1941" y="692"/>
                      <a:pt x="2513" y="407"/>
                      <a:pt x="3168" y="335"/>
                    </a:cubicBezTo>
                    <a:cubicBezTo>
                      <a:pt x="3263" y="311"/>
                      <a:pt x="3334" y="240"/>
                      <a:pt x="3323" y="157"/>
                    </a:cubicBezTo>
                    <a:cubicBezTo>
                      <a:pt x="3312" y="68"/>
                      <a:pt x="3239" y="1"/>
                      <a:pt x="316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80" name="TextBox 4">
            <a:extLst>
              <a:ext uri="{FF2B5EF4-FFF2-40B4-BE49-F238E27FC236}">
                <a16:creationId xmlns:a16="http://schemas.microsoft.com/office/drawing/2014/main" id="{B4198084-010D-43B5-90F8-2A23352817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8294" y="2079489"/>
            <a:ext cx="3312000" cy="3229486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</p:spPr>
        <p:txBody>
          <a:bodyPr vert="horz" wrap="square" lIns="144000" tIns="108000" rIns="216000" bIns="14400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270000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270000" algn="l"/>
              </a:tabLst>
              <a:defRPr sz="1400" kern="0"/>
            </a:lvl1pPr>
            <a:lvl2pPr marL="540000" lvl="1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Calibri" panose="020F0502020204030204" pitchFamily="34" charset="0"/>
              <a:buChar char="‒"/>
              <a:tabLst>
                <a:tab pos="270000" algn="l"/>
              </a:tabLst>
              <a:defRPr sz="1400" kern="0"/>
            </a:lvl2pPr>
            <a:lvl3pPr marL="810000" lvl="2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>
                <a:tab pos="270000" algn="l"/>
              </a:tabLst>
              <a:defRPr sz="1400" kern="0"/>
            </a:lvl3pPr>
            <a:lvl4pPr marL="1080000" lvl="3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>
                <a:tab pos="270000" algn="l"/>
              </a:tabLst>
              <a:defRPr sz="1400" kern="0"/>
            </a:lvl4pPr>
            <a:lvl5pPr marL="810000" indent="0" defTabSz="89535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18345E"/>
              </a:buClr>
              <a:buFont typeface="Wingdings" panose="05000000000000000000" pitchFamily="2" charset="2"/>
              <a:buNone/>
              <a:defRPr sz="1400" baseline="0"/>
            </a:lvl5pPr>
            <a:lvl6pPr marL="2152650" indent="-361950" fontAlgn="base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­"/>
              <a:defRPr sz="14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9pPr>
          </a:lstStyle>
          <a:p>
            <a:pPr marL="0" marR="0" lvl="0" indent="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>
                <a:tab pos="270000" algn="l"/>
              </a:tabLst>
              <a:defRPr/>
            </a:pPr>
            <a:r>
              <a:rPr kumimoji="0" lang="en-AU" sz="10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state components addressed</a:t>
            </a: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ose collaboration of function and technology teams</a:t>
            </a: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inuous improvement in 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</a:t>
            </a:r>
            <a:r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digital 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ile development that partners with functions to deliver</a:t>
            </a: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ning on effective use of systems</a:t>
            </a: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ctive collaboration tools</a:t>
            </a: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gical security profiles that support efficient processes</a:t>
            </a:r>
          </a:p>
          <a:p>
            <a:pPr marL="180000" marR="0" lvl="0" indent="-180000" algn="l" defTabSz="270000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supports hybrid ways of working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5910D9B8-E925-4CCE-8FE4-A614126827F0}"/>
              </a:ext>
            </a:extLst>
          </p:cNvPr>
          <p:cNvCxnSpPr>
            <a:cxnSpLocks/>
          </p:cNvCxnSpPr>
          <p:nvPr/>
        </p:nvCxnSpPr>
        <p:spPr>
          <a:xfrm>
            <a:off x="7908294" y="2082720"/>
            <a:ext cx="3312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6E494A2-55C3-4AFC-9FE7-55532B9513D6}"/>
              </a:ext>
            </a:extLst>
          </p:cNvPr>
          <p:cNvGrpSpPr/>
          <p:nvPr/>
        </p:nvGrpSpPr>
        <p:grpSpPr>
          <a:xfrm>
            <a:off x="7462350" y="2091034"/>
            <a:ext cx="289650" cy="256374"/>
            <a:chOff x="10927467" y="2335634"/>
            <a:chExt cx="289650" cy="256374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F11FC4B-6B53-42E1-BC0B-612274A7AAD7}"/>
                </a:ext>
              </a:extLst>
            </p:cNvPr>
            <p:cNvSpPr>
              <a:spLocks/>
            </p:cNvSpPr>
            <p:nvPr/>
          </p:nvSpPr>
          <p:spPr>
            <a:xfrm>
              <a:off x="10927467" y="2335634"/>
              <a:ext cx="289650" cy="25637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134" name="Idea Google Shape;10130;p57">
              <a:extLst>
                <a:ext uri="{FF2B5EF4-FFF2-40B4-BE49-F238E27FC236}">
                  <a16:creationId xmlns:a16="http://schemas.microsoft.com/office/drawing/2014/main" id="{3227F15B-1195-4419-A2EC-19F2D1C7268B}"/>
                </a:ext>
              </a:extLst>
            </p:cNvPr>
            <p:cNvGrpSpPr>
              <a:grpSpLocks/>
            </p:cNvGrpSpPr>
            <p:nvPr>
              <p:custDataLst>
                <p:tags r:id="rId5"/>
              </p:custDataLst>
            </p:nvPr>
          </p:nvGrpSpPr>
          <p:grpSpPr>
            <a:xfrm>
              <a:off x="10990069" y="2375725"/>
              <a:ext cx="164445" cy="176192"/>
              <a:chOff x="5463762" y="5502505"/>
              <a:chExt cx="491329" cy="526428"/>
            </a:xfrm>
            <a:solidFill>
              <a:srgbClr val="FFFFFF"/>
            </a:solidFill>
          </p:grpSpPr>
          <p:sp>
            <p:nvSpPr>
              <p:cNvPr id="136" name="Google Shape;10131;p57">
                <a:extLst>
                  <a:ext uri="{FF2B5EF4-FFF2-40B4-BE49-F238E27FC236}">
                    <a16:creationId xmlns:a16="http://schemas.microsoft.com/office/drawing/2014/main" id="{B97F975D-D5D0-4F98-92BD-811A4A056B2A}"/>
                  </a:ext>
                </a:extLst>
              </p:cNvPr>
              <p:cNvSpPr/>
              <p:nvPr/>
            </p:nvSpPr>
            <p:spPr>
              <a:xfrm>
                <a:off x="5544752" y="5590432"/>
                <a:ext cx="322368" cy="438501"/>
              </a:xfrm>
              <a:custGeom>
                <a:avLst/>
                <a:gdLst/>
                <a:ahLst/>
                <a:cxnLst/>
                <a:rect l="l" t="t" r="r" b="b"/>
                <a:pathLst>
                  <a:path w="7109" h="9670" extrusionOk="0">
                    <a:moveTo>
                      <a:pt x="3643" y="359"/>
                    </a:moveTo>
                    <a:cubicBezTo>
                      <a:pt x="4417" y="359"/>
                      <a:pt x="5132" y="645"/>
                      <a:pt x="5703" y="1157"/>
                    </a:cubicBezTo>
                    <a:cubicBezTo>
                      <a:pt x="6358" y="1752"/>
                      <a:pt x="6751" y="2597"/>
                      <a:pt x="6751" y="3478"/>
                    </a:cubicBezTo>
                    <a:cubicBezTo>
                      <a:pt x="6739" y="4074"/>
                      <a:pt x="6572" y="4669"/>
                      <a:pt x="6251" y="5157"/>
                    </a:cubicBezTo>
                    <a:cubicBezTo>
                      <a:pt x="5929" y="5645"/>
                      <a:pt x="5489" y="6038"/>
                      <a:pt x="4953" y="6288"/>
                    </a:cubicBezTo>
                    <a:cubicBezTo>
                      <a:pt x="4620" y="6431"/>
                      <a:pt x="4417" y="6776"/>
                      <a:pt x="4417" y="7146"/>
                    </a:cubicBezTo>
                    <a:lnTo>
                      <a:pt x="4417" y="7360"/>
                    </a:lnTo>
                    <a:lnTo>
                      <a:pt x="2834" y="7360"/>
                    </a:lnTo>
                    <a:lnTo>
                      <a:pt x="2834" y="7146"/>
                    </a:lnTo>
                    <a:cubicBezTo>
                      <a:pt x="2834" y="6776"/>
                      <a:pt x="2631" y="6455"/>
                      <a:pt x="2298" y="6288"/>
                    </a:cubicBezTo>
                    <a:cubicBezTo>
                      <a:pt x="1084" y="5705"/>
                      <a:pt x="381" y="4407"/>
                      <a:pt x="548" y="3074"/>
                    </a:cubicBezTo>
                    <a:cubicBezTo>
                      <a:pt x="726" y="1669"/>
                      <a:pt x="1869" y="526"/>
                      <a:pt x="3286" y="383"/>
                    </a:cubicBezTo>
                    <a:cubicBezTo>
                      <a:pt x="3405" y="359"/>
                      <a:pt x="3524" y="359"/>
                      <a:pt x="3643" y="359"/>
                    </a:cubicBezTo>
                    <a:close/>
                    <a:moveTo>
                      <a:pt x="4417" y="7729"/>
                    </a:moveTo>
                    <a:lnTo>
                      <a:pt x="4417" y="8324"/>
                    </a:lnTo>
                    <a:cubicBezTo>
                      <a:pt x="4417" y="8443"/>
                      <a:pt x="4322" y="8539"/>
                      <a:pt x="4203" y="8539"/>
                    </a:cubicBezTo>
                    <a:lnTo>
                      <a:pt x="3048" y="8539"/>
                    </a:lnTo>
                    <a:cubicBezTo>
                      <a:pt x="2929" y="8539"/>
                      <a:pt x="2834" y="8443"/>
                      <a:pt x="2834" y="8324"/>
                    </a:cubicBezTo>
                    <a:lnTo>
                      <a:pt x="2834" y="7729"/>
                    </a:lnTo>
                    <a:close/>
                    <a:moveTo>
                      <a:pt x="4024" y="8896"/>
                    </a:moveTo>
                    <a:lnTo>
                      <a:pt x="4024" y="9098"/>
                    </a:lnTo>
                    <a:cubicBezTo>
                      <a:pt x="4024" y="9217"/>
                      <a:pt x="3941" y="9313"/>
                      <a:pt x="3822" y="9313"/>
                    </a:cubicBezTo>
                    <a:lnTo>
                      <a:pt x="3429" y="9313"/>
                    </a:lnTo>
                    <a:cubicBezTo>
                      <a:pt x="3310" y="9313"/>
                      <a:pt x="3227" y="9217"/>
                      <a:pt x="3227" y="9098"/>
                    </a:cubicBezTo>
                    <a:lnTo>
                      <a:pt x="3227" y="8896"/>
                    </a:lnTo>
                    <a:close/>
                    <a:moveTo>
                      <a:pt x="3658" y="1"/>
                    </a:moveTo>
                    <a:cubicBezTo>
                      <a:pt x="3519" y="1"/>
                      <a:pt x="3379" y="9"/>
                      <a:pt x="3239" y="26"/>
                    </a:cubicBezTo>
                    <a:cubicBezTo>
                      <a:pt x="1667" y="204"/>
                      <a:pt x="381" y="1466"/>
                      <a:pt x="191" y="3026"/>
                    </a:cubicBezTo>
                    <a:cubicBezTo>
                      <a:pt x="0" y="4526"/>
                      <a:pt x="786" y="5979"/>
                      <a:pt x="2155" y="6610"/>
                    </a:cubicBezTo>
                    <a:cubicBezTo>
                      <a:pt x="2358" y="6705"/>
                      <a:pt x="2477" y="6931"/>
                      <a:pt x="2477" y="7146"/>
                    </a:cubicBezTo>
                    <a:lnTo>
                      <a:pt x="2477" y="8324"/>
                    </a:lnTo>
                    <a:cubicBezTo>
                      <a:pt x="2477" y="8574"/>
                      <a:pt x="2643" y="8789"/>
                      <a:pt x="2870" y="8860"/>
                    </a:cubicBezTo>
                    <a:lnTo>
                      <a:pt x="2870" y="9098"/>
                    </a:lnTo>
                    <a:cubicBezTo>
                      <a:pt x="2870" y="9408"/>
                      <a:pt x="3120" y="9670"/>
                      <a:pt x="3429" y="9670"/>
                    </a:cubicBezTo>
                    <a:lnTo>
                      <a:pt x="3822" y="9670"/>
                    </a:lnTo>
                    <a:cubicBezTo>
                      <a:pt x="4132" y="9670"/>
                      <a:pt x="4382" y="9408"/>
                      <a:pt x="4382" y="9098"/>
                    </a:cubicBezTo>
                    <a:lnTo>
                      <a:pt x="4382" y="8860"/>
                    </a:lnTo>
                    <a:cubicBezTo>
                      <a:pt x="4608" y="8789"/>
                      <a:pt x="4775" y="8574"/>
                      <a:pt x="4775" y="8324"/>
                    </a:cubicBezTo>
                    <a:lnTo>
                      <a:pt x="4775" y="7146"/>
                    </a:lnTo>
                    <a:cubicBezTo>
                      <a:pt x="4775" y="6931"/>
                      <a:pt x="4906" y="6717"/>
                      <a:pt x="5096" y="6610"/>
                    </a:cubicBezTo>
                    <a:cubicBezTo>
                      <a:pt x="5691" y="6336"/>
                      <a:pt x="6191" y="5895"/>
                      <a:pt x="6549" y="5348"/>
                    </a:cubicBezTo>
                    <a:cubicBezTo>
                      <a:pt x="6906" y="4788"/>
                      <a:pt x="7096" y="4133"/>
                      <a:pt x="7096" y="3455"/>
                    </a:cubicBezTo>
                    <a:cubicBezTo>
                      <a:pt x="7108" y="2490"/>
                      <a:pt x="6680" y="1538"/>
                      <a:pt x="5953" y="883"/>
                    </a:cubicBezTo>
                    <a:cubicBezTo>
                      <a:pt x="5309" y="310"/>
                      <a:pt x="4506" y="1"/>
                      <a:pt x="365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7" name="Google Shape;10132;p57">
                <a:extLst>
                  <a:ext uri="{FF2B5EF4-FFF2-40B4-BE49-F238E27FC236}">
                    <a16:creationId xmlns:a16="http://schemas.microsoft.com/office/drawing/2014/main" id="{F67AF24D-CAE8-479B-B4B3-4EA5AA7074EC}"/>
                  </a:ext>
                </a:extLst>
              </p:cNvPr>
              <p:cNvSpPr/>
              <p:nvPr/>
            </p:nvSpPr>
            <p:spPr>
              <a:xfrm>
                <a:off x="5885938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80" y="1"/>
                    </a:moveTo>
                    <a:cubicBezTo>
                      <a:pt x="72" y="1"/>
                      <a:pt x="1" y="72"/>
                      <a:pt x="1" y="179"/>
                    </a:cubicBezTo>
                    <a:cubicBezTo>
                      <a:pt x="1" y="275"/>
                      <a:pt x="72" y="358"/>
                      <a:pt x="180" y="358"/>
                    </a:cubicBezTo>
                    <a:lnTo>
                      <a:pt x="1346" y="358"/>
                    </a:lnTo>
                    <a:cubicBezTo>
                      <a:pt x="1442" y="358"/>
                      <a:pt x="1525" y="275"/>
                      <a:pt x="1525" y="179"/>
                    </a:cubicBezTo>
                    <a:cubicBezTo>
                      <a:pt x="1525" y="72"/>
                      <a:pt x="1430" y="1"/>
                      <a:pt x="134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8" name="Google Shape;10133;p57">
                <a:extLst>
                  <a:ext uri="{FF2B5EF4-FFF2-40B4-BE49-F238E27FC236}">
                    <a16:creationId xmlns:a16="http://schemas.microsoft.com/office/drawing/2014/main" id="{8D6EDCC8-D9B1-4E51-B414-AD5F06CF02A8}"/>
                  </a:ext>
                </a:extLst>
              </p:cNvPr>
              <p:cNvSpPr/>
              <p:nvPr/>
            </p:nvSpPr>
            <p:spPr>
              <a:xfrm>
                <a:off x="5463762" y="5740030"/>
                <a:ext cx="69153" cy="16279"/>
              </a:xfrm>
              <a:custGeom>
                <a:avLst/>
                <a:gdLst/>
                <a:ahLst/>
                <a:cxnLst/>
                <a:rect l="l" t="t" r="r" b="b"/>
                <a:pathLst>
                  <a:path w="1525" h="359" extrusionOk="0">
                    <a:moveTo>
                      <a:pt x="179" y="1"/>
                    </a:moveTo>
                    <a:cubicBezTo>
                      <a:pt x="72" y="1"/>
                      <a:pt x="0" y="72"/>
                      <a:pt x="0" y="179"/>
                    </a:cubicBezTo>
                    <a:cubicBezTo>
                      <a:pt x="0" y="275"/>
                      <a:pt x="72" y="358"/>
                      <a:pt x="179" y="358"/>
                    </a:cubicBezTo>
                    <a:lnTo>
                      <a:pt x="1334" y="358"/>
                    </a:lnTo>
                    <a:cubicBezTo>
                      <a:pt x="1441" y="358"/>
                      <a:pt x="1512" y="275"/>
                      <a:pt x="1512" y="179"/>
                    </a:cubicBezTo>
                    <a:cubicBezTo>
                      <a:pt x="1524" y="72"/>
                      <a:pt x="1441" y="1"/>
                      <a:pt x="13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9" name="Google Shape;10134;p57">
                <a:extLst>
                  <a:ext uri="{FF2B5EF4-FFF2-40B4-BE49-F238E27FC236}">
                    <a16:creationId xmlns:a16="http://schemas.microsoft.com/office/drawing/2014/main" id="{047D8D13-C940-4E12-90AF-7B828581A2AA}"/>
                  </a:ext>
                </a:extLst>
              </p:cNvPr>
              <p:cNvSpPr/>
              <p:nvPr/>
            </p:nvSpPr>
            <p:spPr>
              <a:xfrm>
                <a:off x="5701288" y="5502505"/>
                <a:ext cx="16279" cy="68609"/>
              </a:xfrm>
              <a:custGeom>
                <a:avLst/>
                <a:gdLst/>
                <a:ahLst/>
                <a:cxnLst/>
                <a:rect l="l" t="t" r="r" b="b"/>
                <a:pathLst>
                  <a:path w="359" h="1513" extrusionOk="0">
                    <a:moveTo>
                      <a:pt x="180" y="0"/>
                    </a:moveTo>
                    <a:cubicBezTo>
                      <a:pt x="72" y="0"/>
                      <a:pt x="1" y="72"/>
                      <a:pt x="1" y="179"/>
                    </a:cubicBezTo>
                    <a:lnTo>
                      <a:pt x="1" y="1334"/>
                    </a:lnTo>
                    <a:cubicBezTo>
                      <a:pt x="1" y="1441"/>
                      <a:pt x="72" y="1512"/>
                      <a:pt x="180" y="1512"/>
                    </a:cubicBezTo>
                    <a:cubicBezTo>
                      <a:pt x="275" y="1512"/>
                      <a:pt x="358" y="1441"/>
                      <a:pt x="358" y="1334"/>
                    </a:cubicBezTo>
                    <a:lnTo>
                      <a:pt x="358" y="179"/>
                    </a:lnTo>
                    <a:cubicBezTo>
                      <a:pt x="358" y="72"/>
                      <a:pt x="275" y="0"/>
                      <a:pt x="18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0" name="Google Shape;10135;p57">
                <a:extLst>
                  <a:ext uri="{FF2B5EF4-FFF2-40B4-BE49-F238E27FC236}">
                    <a16:creationId xmlns:a16="http://schemas.microsoft.com/office/drawing/2014/main" id="{D9E90294-8DEA-4721-B66F-C5F688052AEC}"/>
                  </a:ext>
                </a:extLst>
              </p:cNvPr>
              <p:cNvSpPr/>
              <p:nvPr/>
            </p:nvSpPr>
            <p:spPr>
              <a:xfrm>
                <a:off x="5791482" y="5557375"/>
                <a:ext cx="32423" cy="39633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74" extrusionOk="0">
                    <a:moveTo>
                      <a:pt x="513" y="0"/>
                    </a:moveTo>
                    <a:cubicBezTo>
                      <a:pt x="451" y="0"/>
                      <a:pt x="387" y="27"/>
                      <a:pt x="346" y="76"/>
                    </a:cubicBezTo>
                    <a:lnTo>
                      <a:pt x="48" y="588"/>
                    </a:lnTo>
                    <a:cubicBezTo>
                      <a:pt x="0" y="671"/>
                      <a:pt x="24" y="778"/>
                      <a:pt x="107" y="838"/>
                    </a:cubicBezTo>
                    <a:cubicBezTo>
                      <a:pt x="131" y="850"/>
                      <a:pt x="167" y="874"/>
                      <a:pt x="191" y="874"/>
                    </a:cubicBezTo>
                    <a:cubicBezTo>
                      <a:pt x="250" y="874"/>
                      <a:pt x="310" y="838"/>
                      <a:pt x="358" y="778"/>
                    </a:cubicBezTo>
                    <a:lnTo>
                      <a:pt x="655" y="278"/>
                    </a:lnTo>
                    <a:cubicBezTo>
                      <a:pt x="715" y="171"/>
                      <a:pt x="691" y="64"/>
                      <a:pt x="596" y="16"/>
                    </a:cubicBezTo>
                    <a:cubicBezTo>
                      <a:pt x="570" y="5"/>
                      <a:pt x="542" y="0"/>
                      <a:pt x="5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1" name="Google Shape;10136;p57">
                <a:extLst>
                  <a:ext uri="{FF2B5EF4-FFF2-40B4-BE49-F238E27FC236}">
                    <a16:creationId xmlns:a16="http://schemas.microsoft.com/office/drawing/2014/main" id="{DD02263B-FAAE-4D97-8CE8-16CC868AD08C}"/>
                  </a:ext>
                </a:extLst>
              </p:cNvPr>
              <p:cNvSpPr/>
              <p:nvPr/>
            </p:nvSpPr>
            <p:spPr>
              <a:xfrm>
                <a:off x="5593861" y="5899424"/>
                <a:ext cx="32423" cy="39360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68" extrusionOk="0">
                    <a:moveTo>
                      <a:pt x="507" y="0"/>
                    </a:moveTo>
                    <a:cubicBezTo>
                      <a:pt x="444" y="0"/>
                      <a:pt x="387" y="33"/>
                      <a:pt x="346" y="82"/>
                    </a:cubicBezTo>
                    <a:lnTo>
                      <a:pt x="48" y="594"/>
                    </a:lnTo>
                    <a:cubicBezTo>
                      <a:pt x="1" y="677"/>
                      <a:pt x="24" y="784"/>
                      <a:pt x="108" y="844"/>
                    </a:cubicBezTo>
                    <a:cubicBezTo>
                      <a:pt x="132" y="855"/>
                      <a:pt x="155" y="867"/>
                      <a:pt x="191" y="867"/>
                    </a:cubicBezTo>
                    <a:cubicBezTo>
                      <a:pt x="251" y="867"/>
                      <a:pt x="310" y="844"/>
                      <a:pt x="358" y="784"/>
                    </a:cubicBezTo>
                    <a:lnTo>
                      <a:pt x="655" y="272"/>
                    </a:lnTo>
                    <a:cubicBezTo>
                      <a:pt x="715" y="189"/>
                      <a:pt x="679" y="82"/>
                      <a:pt x="596" y="22"/>
                    </a:cubicBezTo>
                    <a:cubicBezTo>
                      <a:pt x="566" y="7"/>
                      <a:pt x="536" y="0"/>
                      <a:pt x="50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Google Shape;10137;p57">
                <a:extLst>
                  <a:ext uri="{FF2B5EF4-FFF2-40B4-BE49-F238E27FC236}">
                    <a16:creationId xmlns:a16="http://schemas.microsoft.com/office/drawing/2014/main" id="{00A0DC16-D216-47E6-BA23-A5481C2EDD93}"/>
                  </a:ext>
                </a:extLst>
              </p:cNvPr>
              <p:cNvSpPr/>
              <p:nvPr/>
            </p:nvSpPr>
            <p:spPr>
              <a:xfrm>
                <a:off x="5593861" y="5556739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13" y="1"/>
                    </a:moveTo>
                    <a:cubicBezTo>
                      <a:pt x="181" y="1"/>
                      <a:pt x="148" y="10"/>
                      <a:pt x="120" y="30"/>
                    </a:cubicBezTo>
                    <a:cubicBezTo>
                      <a:pt x="24" y="78"/>
                      <a:pt x="1" y="197"/>
                      <a:pt x="60" y="292"/>
                    </a:cubicBezTo>
                    <a:lnTo>
                      <a:pt x="358" y="792"/>
                    </a:lnTo>
                    <a:cubicBezTo>
                      <a:pt x="382" y="852"/>
                      <a:pt x="441" y="888"/>
                      <a:pt x="525" y="888"/>
                    </a:cubicBezTo>
                    <a:cubicBezTo>
                      <a:pt x="548" y="888"/>
                      <a:pt x="584" y="864"/>
                      <a:pt x="608" y="852"/>
                    </a:cubicBezTo>
                    <a:cubicBezTo>
                      <a:pt x="679" y="792"/>
                      <a:pt x="715" y="685"/>
                      <a:pt x="667" y="602"/>
                    </a:cubicBezTo>
                    <a:lnTo>
                      <a:pt x="370" y="90"/>
                    </a:lnTo>
                    <a:cubicBezTo>
                      <a:pt x="338" y="35"/>
                      <a:pt x="276" y="1"/>
                      <a:pt x="2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Google Shape;10138;p57">
                <a:extLst>
                  <a:ext uri="{FF2B5EF4-FFF2-40B4-BE49-F238E27FC236}">
                    <a16:creationId xmlns:a16="http://schemas.microsoft.com/office/drawing/2014/main" id="{FAD35447-FD44-4340-8486-6432F32C08CC}"/>
                  </a:ext>
                </a:extLst>
              </p:cNvPr>
              <p:cNvSpPr/>
              <p:nvPr/>
            </p:nvSpPr>
            <p:spPr>
              <a:xfrm>
                <a:off x="5791482" y="5899605"/>
                <a:ext cx="32423" cy="4026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888" extrusionOk="0">
                    <a:moveTo>
                      <a:pt x="221" y="0"/>
                    </a:moveTo>
                    <a:cubicBezTo>
                      <a:pt x="187" y="0"/>
                      <a:pt x="152" y="10"/>
                      <a:pt x="119" y="30"/>
                    </a:cubicBezTo>
                    <a:cubicBezTo>
                      <a:pt x="24" y="78"/>
                      <a:pt x="0" y="197"/>
                      <a:pt x="60" y="292"/>
                    </a:cubicBezTo>
                    <a:lnTo>
                      <a:pt x="358" y="792"/>
                    </a:lnTo>
                    <a:cubicBezTo>
                      <a:pt x="393" y="851"/>
                      <a:pt x="453" y="887"/>
                      <a:pt x="524" y="887"/>
                    </a:cubicBezTo>
                    <a:cubicBezTo>
                      <a:pt x="548" y="887"/>
                      <a:pt x="584" y="863"/>
                      <a:pt x="608" y="851"/>
                    </a:cubicBezTo>
                    <a:cubicBezTo>
                      <a:pt x="691" y="792"/>
                      <a:pt x="715" y="673"/>
                      <a:pt x="667" y="601"/>
                    </a:cubicBezTo>
                    <a:lnTo>
                      <a:pt x="369" y="89"/>
                    </a:lnTo>
                    <a:cubicBezTo>
                      <a:pt x="346" y="35"/>
                      <a:pt x="286" y="0"/>
                      <a:pt x="2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4" name="Google Shape;10139;p57">
                <a:extLst>
                  <a:ext uri="{FF2B5EF4-FFF2-40B4-BE49-F238E27FC236}">
                    <a16:creationId xmlns:a16="http://schemas.microsoft.com/office/drawing/2014/main" id="{D00CCF70-B3B0-4872-8AE7-BCB776311F07}"/>
                  </a:ext>
                </a:extLst>
              </p:cNvPr>
              <p:cNvSpPr/>
              <p:nvPr/>
            </p:nvSpPr>
            <p:spPr>
              <a:xfrm>
                <a:off x="5859501" y="5831947"/>
                <a:ext cx="42172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30" h="665" extrusionOk="0">
                    <a:moveTo>
                      <a:pt x="215" y="0"/>
                    </a:moveTo>
                    <a:cubicBezTo>
                      <a:pt x="152" y="0"/>
                      <a:pt x="89" y="32"/>
                      <a:pt x="48" y="81"/>
                    </a:cubicBezTo>
                    <a:cubicBezTo>
                      <a:pt x="1" y="177"/>
                      <a:pt x="36" y="272"/>
                      <a:pt x="108" y="331"/>
                    </a:cubicBezTo>
                    <a:lnTo>
                      <a:pt x="608" y="629"/>
                    </a:lnTo>
                    <a:cubicBezTo>
                      <a:pt x="643" y="653"/>
                      <a:pt x="667" y="665"/>
                      <a:pt x="703" y="665"/>
                    </a:cubicBezTo>
                    <a:cubicBezTo>
                      <a:pt x="763" y="665"/>
                      <a:pt x="822" y="629"/>
                      <a:pt x="870" y="569"/>
                    </a:cubicBezTo>
                    <a:cubicBezTo>
                      <a:pt x="929" y="486"/>
                      <a:pt x="893" y="367"/>
                      <a:pt x="810" y="319"/>
                    </a:cubicBezTo>
                    <a:lnTo>
                      <a:pt x="298" y="22"/>
                    </a:lnTo>
                    <a:cubicBezTo>
                      <a:pt x="272" y="7"/>
                      <a:pt x="244" y="0"/>
                      <a:pt x="21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Google Shape;10140;p57">
                <a:extLst>
                  <a:ext uri="{FF2B5EF4-FFF2-40B4-BE49-F238E27FC236}">
                    <a16:creationId xmlns:a16="http://schemas.microsoft.com/office/drawing/2014/main" id="{D587F7EF-1291-43E3-86D6-D2361BCB7760}"/>
                  </a:ext>
                </a:extLst>
              </p:cNvPr>
              <p:cNvSpPr/>
              <p:nvPr/>
            </p:nvSpPr>
            <p:spPr>
              <a:xfrm>
                <a:off x="5516681" y="5634328"/>
                <a:ext cx="42126" cy="30155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65" extrusionOk="0">
                    <a:moveTo>
                      <a:pt x="214" y="0"/>
                    </a:moveTo>
                    <a:cubicBezTo>
                      <a:pt x="152" y="0"/>
                      <a:pt x="89" y="33"/>
                      <a:pt x="48" y="82"/>
                    </a:cubicBezTo>
                    <a:cubicBezTo>
                      <a:pt x="0" y="165"/>
                      <a:pt x="36" y="272"/>
                      <a:pt x="107" y="332"/>
                    </a:cubicBezTo>
                    <a:lnTo>
                      <a:pt x="619" y="629"/>
                    </a:lnTo>
                    <a:cubicBezTo>
                      <a:pt x="643" y="641"/>
                      <a:pt x="667" y="665"/>
                      <a:pt x="703" y="665"/>
                    </a:cubicBezTo>
                    <a:cubicBezTo>
                      <a:pt x="762" y="665"/>
                      <a:pt x="822" y="629"/>
                      <a:pt x="869" y="570"/>
                    </a:cubicBezTo>
                    <a:cubicBezTo>
                      <a:pt x="929" y="463"/>
                      <a:pt x="893" y="367"/>
                      <a:pt x="810" y="320"/>
                    </a:cubicBezTo>
                    <a:lnTo>
                      <a:pt x="298" y="22"/>
                    </a:lnTo>
                    <a:cubicBezTo>
                      <a:pt x="272" y="7"/>
                      <a:pt x="243" y="0"/>
                      <a:pt x="21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Google Shape;10141;p57">
                <a:extLst>
                  <a:ext uri="{FF2B5EF4-FFF2-40B4-BE49-F238E27FC236}">
                    <a16:creationId xmlns:a16="http://schemas.microsoft.com/office/drawing/2014/main" id="{3EF12144-EF78-40C8-8111-9AFDA0E97BBC}"/>
                  </a:ext>
                </a:extLst>
              </p:cNvPr>
              <p:cNvSpPr/>
              <p:nvPr/>
            </p:nvSpPr>
            <p:spPr>
              <a:xfrm>
                <a:off x="5858957" y="5634509"/>
                <a:ext cx="4271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42" h="673" extrusionOk="0">
                    <a:moveTo>
                      <a:pt x="725" y="0"/>
                    </a:moveTo>
                    <a:cubicBezTo>
                      <a:pt x="693" y="0"/>
                      <a:pt x="660" y="10"/>
                      <a:pt x="632" y="30"/>
                    </a:cubicBezTo>
                    <a:lnTo>
                      <a:pt x="120" y="328"/>
                    </a:lnTo>
                    <a:cubicBezTo>
                      <a:pt x="36" y="375"/>
                      <a:pt x="1" y="494"/>
                      <a:pt x="60" y="578"/>
                    </a:cubicBezTo>
                    <a:cubicBezTo>
                      <a:pt x="96" y="637"/>
                      <a:pt x="155" y="673"/>
                      <a:pt x="227" y="673"/>
                    </a:cubicBezTo>
                    <a:cubicBezTo>
                      <a:pt x="251" y="673"/>
                      <a:pt x="286" y="661"/>
                      <a:pt x="310" y="637"/>
                    </a:cubicBezTo>
                    <a:lnTo>
                      <a:pt x="822" y="340"/>
                    </a:lnTo>
                    <a:cubicBezTo>
                      <a:pt x="905" y="280"/>
                      <a:pt x="941" y="161"/>
                      <a:pt x="882" y="89"/>
                    </a:cubicBezTo>
                    <a:cubicBezTo>
                      <a:pt x="850" y="35"/>
                      <a:pt x="788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7" name="Google Shape;10142;p57">
                <a:extLst>
                  <a:ext uri="{FF2B5EF4-FFF2-40B4-BE49-F238E27FC236}">
                    <a16:creationId xmlns:a16="http://schemas.microsoft.com/office/drawing/2014/main" id="{DC552FB1-8FC2-492C-90E8-49713B4B5F00}"/>
                  </a:ext>
                </a:extLst>
              </p:cNvPr>
              <p:cNvSpPr/>
              <p:nvPr/>
            </p:nvSpPr>
            <p:spPr>
              <a:xfrm>
                <a:off x="5516681" y="5832129"/>
                <a:ext cx="42126" cy="30518"/>
              </a:xfrm>
              <a:custGeom>
                <a:avLst/>
                <a:gdLst/>
                <a:ahLst/>
                <a:cxnLst/>
                <a:rect l="l" t="t" r="r" b="b"/>
                <a:pathLst>
                  <a:path w="929" h="673" extrusionOk="0">
                    <a:moveTo>
                      <a:pt x="725" y="0"/>
                    </a:moveTo>
                    <a:cubicBezTo>
                      <a:pt x="692" y="0"/>
                      <a:pt x="660" y="9"/>
                      <a:pt x="631" y="30"/>
                    </a:cubicBezTo>
                    <a:lnTo>
                      <a:pt x="119" y="327"/>
                    </a:lnTo>
                    <a:cubicBezTo>
                      <a:pt x="36" y="375"/>
                      <a:pt x="0" y="494"/>
                      <a:pt x="60" y="589"/>
                    </a:cubicBezTo>
                    <a:cubicBezTo>
                      <a:pt x="95" y="649"/>
                      <a:pt x="155" y="673"/>
                      <a:pt x="226" y="673"/>
                    </a:cubicBezTo>
                    <a:cubicBezTo>
                      <a:pt x="262" y="673"/>
                      <a:pt x="286" y="661"/>
                      <a:pt x="322" y="649"/>
                    </a:cubicBezTo>
                    <a:lnTo>
                      <a:pt x="822" y="351"/>
                    </a:lnTo>
                    <a:cubicBezTo>
                      <a:pt x="893" y="292"/>
                      <a:pt x="929" y="173"/>
                      <a:pt x="881" y="89"/>
                    </a:cubicBezTo>
                    <a:cubicBezTo>
                      <a:pt x="850" y="34"/>
                      <a:pt x="787" y="0"/>
                      <a:pt x="7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D56926-0B32-C96F-95E6-E5EC709C54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48CC28A8-6A59-483A-8FB6-AD146F3BA3E2}"/>
              </a:ext>
            </a:extLst>
          </p:cNvPr>
          <p:cNvGrpSpPr/>
          <p:nvPr/>
        </p:nvGrpSpPr>
        <p:grpSpPr>
          <a:xfrm>
            <a:off x="10931492" y="2091230"/>
            <a:ext cx="289650" cy="257508"/>
            <a:chOff x="10931492" y="2340619"/>
            <a:chExt cx="289650" cy="257508"/>
          </a:xfrm>
        </p:grpSpPr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3FDFA234-31B7-415D-B670-AA983309C1C4}"/>
                </a:ext>
              </a:extLst>
            </p:cNvPr>
            <p:cNvSpPr>
              <a:spLocks/>
            </p:cNvSpPr>
            <p:nvPr/>
          </p:nvSpPr>
          <p:spPr>
            <a:xfrm>
              <a:off x="10931492" y="2340619"/>
              <a:ext cx="289650" cy="25750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pic>
          <p:nvPicPr>
            <p:cNvPr id="100" name="Target Graphic 45 (2)">
              <a:extLst>
                <a:ext uri="{FF2B5EF4-FFF2-40B4-BE49-F238E27FC236}">
                  <a16:creationId xmlns:a16="http://schemas.microsoft.com/office/drawing/2014/main" id="{800AA56C-B7DA-4837-BE12-A70A8E6F3540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0988222" y="2381277"/>
              <a:ext cx="176191" cy="176191"/>
            </a:xfrm>
            <a:prstGeom prst="rect">
              <a:avLst/>
            </a:prstGeom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271425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wipe/>
      </p:transition>
    </mc:Choice>
    <mc:Fallback xmlns="">
      <p:transition>
        <p:wip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CA5BFFF-5FD2-47FE-8480-D83142CE6B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CA5BFFF-5FD2-47FE-8480-D83142CE6B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969D012-AE19-40A2-A84B-248E2C653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666037" cy="1376364"/>
          </a:xfrm>
        </p:spPr>
        <p:txBody>
          <a:bodyPr vert="horz">
            <a:normAutofit/>
          </a:bodyPr>
          <a:lstStyle/>
          <a:p>
            <a:r>
              <a:rPr lang="en-US" dirty="0"/>
              <a:t>The D</a:t>
            </a:r>
            <a:r>
              <a:rPr lang="en-US" dirty="0" smtClean="0"/>
              <a:t>ata </a:t>
            </a:r>
            <a:r>
              <a:rPr lang="en-US" dirty="0"/>
              <a:t>and </a:t>
            </a:r>
            <a:r>
              <a:rPr lang="en-US" dirty="0" smtClean="0"/>
              <a:t>Digital Roadmap </a:t>
            </a:r>
            <a:r>
              <a:rPr lang="en-US" dirty="0"/>
              <a:t>is a key enabler for the Commission to realise its vision and purpose</a:t>
            </a:r>
            <a:endParaRPr lang="en-NZ" dirty="0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6F4EE60-3DAF-4853-6043-5522951EC3C2}"/>
              </a:ext>
            </a:extLst>
          </p:cNvPr>
          <p:cNvGrpSpPr/>
          <p:nvPr/>
        </p:nvGrpSpPr>
        <p:grpSpPr>
          <a:xfrm>
            <a:off x="6406179" y="3086242"/>
            <a:ext cx="4218677" cy="2959277"/>
            <a:chOff x="7177155" y="3086242"/>
            <a:chExt cx="4218677" cy="2959277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C385903-CC53-E46F-FBCD-D0073B6E53E5}"/>
                </a:ext>
              </a:extLst>
            </p:cNvPr>
            <p:cNvGrpSpPr/>
            <p:nvPr/>
          </p:nvGrpSpPr>
          <p:grpSpPr>
            <a:xfrm>
              <a:off x="7177155" y="3086242"/>
              <a:ext cx="4218677" cy="2959277"/>
              <a:chOff x="7177155" y="3086242"/>
              <a:chExt cx="4218677" cy="2959277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23970AE-4519-44E6-BE53-EDB3A8D59D7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177155" y="3086242"/>
                <a:ext cx="3963774" cy="2959277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C4BF740-4B52-43A5-A601-B67D5DB4C82A}"/>
                  </a:ext>
                </a:extLst>
              </p:cNvPr>
              <p:cNvSpPr/>
              <p:nvPr/>
            </p:nvSpPr>
            <p:spPr>
              <a:xfrm>
                <a:off x="9859995" y="5091493"/>
                <a:ext cx="1535837" cy="95402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C0D4955-282F-4443-B8B7-3302C0346F51}"/>
                </a:ext>
              </a:extLst>
            </p:cNvPr>
            <p:cNvSpPr/>
            <p:nvPr/>
          </p:nvSpPr>
          <p:spPr>
            <a:xfrm>
              <a:off x="7569226" y="5083796"/>
              <a:ext cx="2869163" cy="408373"/>
            </a:xfrm>
            <a:prstGeom prst="roundRect">
              <a:avLst/>
            </a:prstGeom>
            <a:noFill/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Note Light blue">
            <a:extLst>
              <a:ext uri="{FF2B5EF4-FFF2-40B4-BE49-F238E27FC236}">
                <a16:creationId xmlns:a16="http://schemas.microsoft.com/office/drawing/2014/main" id="{CA8AF963-2086-27B9-06C5-B4D125DFB21F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2213188" y="1684450"/>
            <a:ext cx="7853549" cy="1260038"/>
            <a:chOff x="617538" y="1739775"/>
            <a:chExt cx="2900362" cy="1260038"/>
          </a:xfrm>
        </p:grpSpPr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672F2C38-5D50-5F4E-D4F3-1D61D010EF45}"/>
                </a:ext>
              </a:extLst>
            </p:cNvPr>
            <p:cNvSpPr>
              <a:spLocks/>
            </p:cNvSpPr>
            <p:nvPr/>
          </p:nvSpPr>
          <p:spPr>
            <a:xfrm>
              <a:off x="617538" y="1791487"/>
              <a:ext cx="2900362" cy="12083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04000" rIns="144000" bIns="14400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e NDIS Commission works with people with disability, the NDIA, governments and the sector who together deliver the National Disability Insurance Scheme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EECFF19-79CD-1D6D-6EB7-C149DCC7B76A}"/>
                </a:ext>
              </a:extLst>
            </p:cNvPr>
            <p:cNvSpPr>
              <a:spLocks/>
            </p:cNvSpPr>
            <p:nvPr/>
          </p:nvSpPr>
          <p:spPr>
            <a:xfrm>
              <a:off x="617538" y="1739775"/>
              <a:ext cx="2900362" cy="49011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72000" rIns="144000" bIns="7200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c Plan 2022-2027</a:t>
              </a:r>
            </a:p>
          </p:txBody>
        </p:sp>
      </p:grpSp>
      <p:sp>
        <p:nvSpPr>
          <p:cNvPr id="49" name="Right Brace 48">
            <a:extLst>
              <a:ext uri="{FF2B5EF4-FFF2-40B4-BE49-F238E27FC236}">
                <a16:creationId xmlns:a16="http://schemas.microsoft.com/office/drawing/2014/main" id="{215BF456-5CB8-D103-B2A6-D2AA330D8649}"/>
              </a:ext>
            </a:extLst>
          </p:cNvPr>
          <p:cNvSpPr/>
          <p:nvPr/>
        </p:nvSpPr>
        <p:spPr>
          <a:xfrm>
            <a:off x="5620107" y="3467250"/>
            <a:ext cx="650541" cy="2535936"/>
          </a:xfrm>
          <a:prstGeom prst="rightBrace">
            <a:avLst>
              <a:gd name="adj1" fmla="val 36966"/>
              <a:gd name="adj2" fmla="val 72901"/>
            </a:avLst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238BFBF5-A688-C43D-035C-A2F9AFACE0C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6867" y="3204579"/>
            <a:ext cx="3408989" cy="2798607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2B78299C-12F6-6D1E-59EC-40353591B62D}"/>
              </a:ext>
            </a:extLst>
          </p:cNvPr>
          <p:cNvSpPr/>
          <p:nvPr/>
        </p:nvSpPr>
        <p:spPr>
          <a:xfrm>
            <a:off x="2292745" y="3266996"/>
            <a:ext cx="3036771" cy="287660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F59D02B-3276-1BCA-34E0-0647CE808D36}"/>
              </a:ext>
            </a:extLst>
          </p:cNvPr>
          <p:cNvSpPr txBox="1"/>
          <p:nvPr/>
        </p:nvSpPr>
        <p:spPr>
          <a:xfrm>
            <a:off x="992187" y="6306162"/>
            <a:ext cx="5103813" cy="2301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ource: NDIS Commission </a:t>
            </a:r>
            <a:r>
              <a:rPr kumimoji="0" lang="en-NZ" sz="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 Plan 2022-2027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38BFA3-4F19-FFD2-0E9C-F16A421C98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9079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5FB7D8-DB0E-E7A9-8B06-05AEC605BE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6" imgW="622" imgH="623" progId="TCLayout.ActiveDocument.1">
                  <p:embed/>
                </p:oleObj>
              </mc:Choice>
              <mc:Fallback>
                <p:oleObj name="think-cell Slide" r:id="rId6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5FB7D8-DB0E-E7A9-8B06-05AEC605BE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056F81B9-7072-3B8D-947E-1419969D8B8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95213" y="2987675"/>
            <a:ext cx="10164095" cy="972529"/>
          </a:xfrm>
          <a:prstGeom prst="triangle">
            <a:avLst>
              <a:gd name="adj" fmla="val 70273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DA9DBB7-4747-5442-37C5-0FE211269655}"/>
              </a:ext>
            </a:extLst>
          </p:cNvPr>
          <p:cNvSpPr/>
          <p:nvPr/>
        </p:nvSpPr>
        <p:spPr>
          <a:xfrm>
            <a:off x="1597025" y="2285592"/>
            <a:ext cx="8235669" cy="8064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0EF094-077C-367A-E956-290B2EAE297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0824" y="1761438"/>
            <a:ext cx="7960335" cy="125173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98A2F35-48CF-9AD2-D3BB-DCE013FCD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912481" cy="1376364"/>
          </a:xfrm>
        </p:spPr>
        <p:txBody>
          <a:bodyPr vert="horz">
            <a:normAutofit fontScale="90000"/>
          </a:bodyPr>
          <a:lstStyle/>
          <a:p>
            <a:pPr lvl="2"/>
            <a:r>
              <a:rPr lang="en-GB" sz="3200" b="1" dirty="0">
                <a:latin typeface="+mj-lt"/>
              </a:rPr>
              <a:t>Data and digital approaches will influence the </a:t>
            </a:r>
            <a:r>
              <a:rPr lang="en-GB" sz="3200" b="1" dirty="0" smtClean="0">
                <a:latin typeface="+mj-lt"/>
              </a:rPr>
              <a:t>impact </a:t>
            </a:r>
            <a:r>
              <a:rPr lang="en-GB" sz="3200" b="1" dirty="0">
                <a:latin typeface="+mj-lt"/>
              </a:rPr>
              <a:t>the Commission has on the rights of participants, quality of providers and the mark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BFFB66-33FC-1261-3E0F-0A4FBEFFE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5CDE587-77E5-64B8-6004-94F2E78074E5}"/>
              </a:ext>
            </a:extLst>
          </p:cNvPr>
          <p:cNvSpPr/>
          <p:nvPr/>
        </p:nvSpPr>
        <p:spPr>
          <a:xfrm>
            <a:off x="6939023" y="2178779"/>
            <a:ext cx="1906595" cy="972529"/>
          </a:xfrm>
          <a:prstGeom prst="ellipse">
            <a:avLst/>
          </a:prstGeom>
          <a:noFill/>
          <a:ln w="762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2" name="1. Plain - bulletpoints">
            <a:extLst>
              <a:ext uri="{FF2B5EF4-FFF2-40B4-BE49-F238E27FC236}">
                <a16:creationId xmlns:a16="http://schemas.microsoft.com/office/drawing/2014/main" id="{A4946320-867A-303D-6AED-C3623910C416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93677514"/>
              </p:ext>
            </p:extLst>
          </p:nvPr>
        </p:nvGraphicFramePr>
        <p:xfrm>
          <a:off x="795213" y="3857982"/>
          <a:ext cx="10164096" cy="2563872"/>
        </p:xfrm>
        <a:graphic>
          <a:graphicData uri="http://schemas.openxmlformats.org/drawingml/2006/table">
            <a:tbl>
              <a:tblPr firstRow="1">
                <a:tableStyleId>{68D230F3-CF80-4859-8CE7-A43EE81993B5}</a:tableStyleId>
              </a:tblPr>
              <a:tblGrid>
                <a:gridCol w="3562655">
                  <a:extLst>
                    <a:ext uri="{9D8B030D-6E8A-4147-A177-3AD203B41FA5}">
                      <a16:colId xmlns:a16="http://schemas.microsoft.com/office/drawing/2014/main" val="2522202568"/>
                    </a:ext>
                  </a:extLst>
                </a:gridCol>
                <a:gridCol w="3213409">
                  <a:extLst>
                    <a:ext uri="{9D8B030D-6E8A-4147-A177-3AD203B41FA5}">
                      <a16:colId xmlns:a16="http://schemas.microsoft.com/office/drawing/2014/main" val="4128315522"/>
                    </a:ext>
                  </a:extLst>
                </a:gridCol>
                <a:gridCol w="338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2400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Impact 1: The rights of people with disabilities</a:t>
                      </a:r>
                    </a:p>
                  </a:txBody>
                  <a:tcPr marL="144000" marR="144000" marT="72000" marB="72000">
                    <a:lnL>
                      <a:noFill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Impact 2: Quality providers and workers</a:t>
                      </a:r>
                    </a:p>
                  </a:txBody>
                  <a:tcPr marL="144000" marR="144000" marT="72000" marB="72000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1"/>
                          </a:solidFill>
                        </a:rPr>
                        <a:t>Impact 3: Thriving, diverse markets</a:t>
                      </a:r>
                    </a:p>
                  </a:txBody>
                  <a:tcPr marL="144000" marR="144000" marT="72000" marB="72000">
                    <a:lnL w="9525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56006"/>
                  </a:ext>
                </a:extLst>
              </a:tr>
              <a:tr h="392400">
                <a:tc>
                  <a:txBody>
                    <a:bodyPr/>
                    <a:lstStyle/>
                    <a:p>
                      <a:pPr marL="270000" indent="-27000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More complaints resolved in </a:t>
                      </a:r>
                      <a:r>
                        <a:rPr lang="en-US" sz="1200" dirty="0" smtClean="0"/>
                        <a:t>a timely manner</a:t>
                      </a:r>
                      <a:endParaRPr lang="en-GB" sz="1200" b="0" dirty="0"/>
                    </a:p>
                  </a:txBody>
                  <a:tcPr marL="144000" marR="144000" marT="54000" marB="54000" anchor="ctr">
                    <a:lnL>
                      <a:noFill/>
                    </a:lnL>
                    <a:lnR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0000" indent="-27000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dirty="0"/>
                        <a:t>Increased quality of providers </a:t>
                      </a:r>
                    </a:p>
                  </a:txBody>
                  <a:tcPr marL="144000" marR="144000" marT="54000" marB="54000" anchor="ctr">
                    <a:lnL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0000" indent="-270000" algn="l" defTabSz="914400" rtl="0" eaLnBrk="1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er regulatory burden in identified areas of risk</a:t>
                      </a:r>
                    </a:p>
                  </a:txBody>
                  <a:tcPr marL="144000" marR="144000" marT="54000" marB="54000" anchor="ctr">
                    <a:lnL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4709291"/>
                  </a:ext>
                </a:extLst>
              </a:tr>
              <a:tr h="392400">
                <a:tc>
                  <a:txBody>
                    <a:bodyPr/>
                    <a:lstStyle/>
                    <a:p>
                      <a:pPr marL="270000" indent="-27000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dirty="0"/>
                        <a:t>Higher satisfaction, experience and trust in the Commission for </a:t>
                      </a:r>
                      <a:r>
                        <a:rPr lang="en-GB" sz="1200" b="0" dirty="0" smtClean="0"/>
                        <a:t>participants and their supporters</a:t>
                      </a:r>
                      <a:endParaRPr lang="en-GB" sz="1200" b="0" dirty="0"/>
                    </a:p>
                  </a:txBody>
                  <a:tcPr marL="144000" marR="144000" marT="72000" marB="72000" anchor="ctr">
                    <a:lnL>
                      <a:noFill/>
                    </a:lnL>
                    <a:lnR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0000" indent="-27000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dirty="0"/>
                        <a:t>Systemic issues </a:t>
                      </a:r>
                      <a:r>
                        <a:rPr lang="en-GB" sz="1200" b="0" dirty="0" smtClean="0"/>
                        <a:t>identified and effectively addressed</a:t>
                      </a:r>
                      <a:endParaRPr lang="en-GB" sz="1200" b="0" dirty="0"/>
                    </a:p>
                  </a:txBody>
                  <a:tcPr marL="144000" marR="144000" marT="72000" marB="72000" anchor="ctr">
                    <a:lnL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0000" indent="-270000" algn="l" defTabSz="914400" rtl="0" eaLnBrk="1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ing only quality providers are allowed to be registered</a:t>
                      </a:r>
                    </a:p>
                  </a:txBody>
                  <a:tcPr marL="144000" marR="144000" marT="72000" marB="72000" anchor="ctr">
                    <a:lnL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6162687"/>
                  </a:ext>
                </a:extLst>
              </a:tr>
              <a:tr h="392400">
                <a:tc>
                  <a:txBody>
                    <a:bodyPr/>
                    <a:lstStyle/>
                    <a:p>
                      <a:pPr marL="270000" indent="-27000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Better understanding among </a:t>
                      </a:r>
                      <a:r>
                        <a:rPr lang="en-US" sz="1200" dirty="0" smtClean="0"/>
                        <a:t>providers regarding </a:t>
                      </a:r>
                      <a:r>
                        <a:rPr lang="en-US" sz="1200" dirty="0"/>
                        <a:t>what quality and safety means for participants</a:t>
                      </a:r>
                      <a:endParaRPr lang="en-GB" sz="1200" b="0" dirty="0"/>
                    </a:p>
                  </a:txBody>
                  <a:tcPr marL="144000" marR="144000" marT="72000" marB="72000" anchor="ctr">
                    <a:lnL>
                      <a:noFill/>
                    </a:lnL>
                    <a:lnR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0000" indent="-270000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Greater access to, and choice of, skilled </a:t>
                      </a:r>
                      <a:r>
                        <a:rPr lang="en-US" sz="1200" dirty="0" smtClean="0"/>
                        <a:t>workers</a:t>
                      </a:r>
                      <a:endParaRPr lang="en-GB" sz="1200" b="0" dirty="0"/>
                    </a:p>
                  </a:txBody>
                  <a:tcPr marL="144000" marR="144000" marT="72000" marB="72000" anchor="ctr">
                    <a:lnL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0000" indent="-270000" algn="l" defTabSz="914400" rtl="0" eaLnBrk="1" latinLnBrk="0" hangingPunct="1">
                        <a:lnSpc>
                          <a:spcPct val="120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Newly </a:t>
                      </a:r>
                      <a:r>
                        <a:rPr lang="en-US" sz="1200" dirty="0"/>
                        <a:t>registered providers actively delivering </a:t>
                      </a:r>
                      <a:r>
                        <a:rPr lang="en-US" sz="1200" dirty="0" smtClean="0"/>
                        <a:t>services </a:t>
                      </a:r>
                      <a:r>
                        <a:rPr lang="en-US" sz="1200" dirty="0"/>
                        <a:t>within </a:t>
                      </a:r>
                      <a:r>
                        <a:rPr lang="en-US" sz="1200" dirty="0" smtClean="0"/>
                        <a:t>three </a:t>
                      </a:r>
                      <a:r>
                        <a:rPr lang="en-US" sz="1200" dirty="0"/>
                        <a:t>months</a:t>
                      </a:r>
                      <a:endParaRPr lang="en-GB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44000" marR="144000" marT="72000" marB="72000" anchor="ctr">
                    <a:lnL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3483222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75E30787-18B0-213B-040D-EBB2C8BBDE54}"/>
              </a:ext>
            </a:extLst>
          </p:cNvPr>
          <p:cNvSpPr txBox="1"/>
          <p:nvPr/>
        </p:nvSpPr>
        <p:spPr>
          <a:xfrm>
            <a:off x="992187" y="6426482"/>
            <a:ext cx="5103813" cy="23018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ource: NDIS Commission </a:t>
            </a:r>
            <a:r>
              <a:rPr kumimoji="0" lang="en-N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 Plan 2022-2027, NDIS Commission Corporate Plan 2022–23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0009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ct 68" hidden="1">
            <a:extLst>
              <a:ext uri="{FF2B5EF4-FFF2-40B4-BE49-F238E27FC236}">
                <a16:creationId xmlns:a16="http://schemas.microsoft.com/office/drawing/2014/main" id="{4089C216-0D7C-C28F-7DC0-99322CDFF5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69" name="Object 68" hidden="1">
                        <a:extLst>
                          <a:ext uri="{FF2B5EF4-FFF2-40B4-BE49-F238E27FC236}">
                            <a16:creationId xmlns:a16="http://schemas.microsoft.com/office/drawing/2014/main" id="{4089C216-0D7C-C28F-7DC0-99322CDFF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33AE64E-4D83-B9AC-738B-B94F7B7C6D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Data and Digital </a:t>
            </a:r>
            <a:r>
              <a:rPr lang="en-US" dirty="0" smtClean="0"/>
              <a:t>Roadmap </a:t>
            </a:r>
            <a:r>
              <a:rPr lang="en-US" dirty="0"/>
              <a:t>is designed to enable the Commission's vision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F58DAB-4383-A5C5-6C32-AD3E7D938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E643F8-E7BE-0AE2-6525-AAFCAE3DBEEC}"/>
              </a:ext>
            </a:extLst>
          </p:cNvPr>
          <p:cNvSpPr txBox="1"/>
          <p:nvPr/>
        </p:nvSpPr>
        <p:spPr>
          <a:xfrm>
            <a:off x="893609" y="2434071"/>
            <a:ext cx="5640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187B7C4-335B-CA38-C9D9-D583196AC2F0}"/>
              </a:ext>
            </a:extLst>
          </p:cNvPr>
          <p:cNvSpPr txBox="1"/>
          <p:nvPr/>
        </p:nvSpPr>
        <p:spPr>
          <a:xfrm>
            <a:off x="893609" y="4105816"/>
            <a:ext cx="6395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302687-A186-9BF8-F54E-9A035BE92D8D}"/>
              </a:ext>
            </a:extLst>
          </p:cNvPr>
          <p:cNvSpPr txBox="1"/>
          <p:nvPr/>
        </p:nvSpPr>
        <p:spPr>
          <a:xfrm>
            <a:off x="929958" y="5528714"/>
            <a:ext cx="5685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3B14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</a:t>
            </a:r>
          </a:p>
        </p:txBody>
      </p:sp>
      <p:sp>
        <p:nvSpPr>
          <p:cNvPr id="29" name="Pentagon 20">
            <a:extLst>
              <a:ext uri="{FF2B5EF4-FFF2-40B4-BE49-F238E27FC236}">
                <a16:creationId xmlns:a16="http://schemas.microsoft.com/office/drawing/2014/main" id="{B5FD0A7E-A2A3-1C86-5621-55CB86552929}"/>
              </a:ext>
            </a:extLst>
          </p:cNvPr>
          <p:cNvSpPr>
            <a:spLocks/>
          </p:cNvSpPr>
          <p:nvPr/>
        </p:nvSpPr>
        <p:spPr>
          <a:xfrm>
            <a:off x="1844528" y="5528714"/>
            <a:ext cx="2447646" cy="515687"/>
          </a:xfrm>
          <a:prstGeom prst="homePlate">
            <a:avLst>
              <a:gd name="adj" fmla="val 25000"/>
            </a:avLst>
          </a:prstGeom>
          <a:solidFill>
            <a:schemeClr val="accent6"/>
          </a:solidFill>
          <a:ln w="31750" cap="flat" cmpd="sng" algn="ctr">
            <a:solidFill>
              <a:schemeClr val="bg2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Horizon 1</a:t>
            </a:r>
          </a:p>
          <a:p>
            <a:pPr marL="0" marR="0" lvl="0" indent="0" algn="ctr" defTabSz="90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efficiency and experience</a:t>
            </a:r>
          </a:p>
        </p:txBody>
      </p:sp>
      <p:sp>
        <p:nvSpPr>
          <p:cNvPr id="30" name="Chevron 21">
            <a:extLst>
              <a:ext uri="{FF2B5EF4-FFF2-40B4-BE49-F238E27FC236}">
                <a16:creationId xmlns:a16="http://schemas.microsoft.com/office/drawing/2014/main" id="{067A6714-74FA-4A9D-2340-2B3A593A0B9E}"/>
              </a:ext>
            </a:extLst>
          </p:cNvPr>
          <p:cNvSpPr>
            <a:spLocks/>
          </p:cNvSpPr>
          <p:nvPr/>
        </p:nvSpPr>
        <p:spPr>
          <a:xfrm>
            <a:off x="4132027" y="5528714"/>
            <a:ext cx="2447646" cy="515687"/>
          </a:xfrm>
          <a:prstGeom prst="chevron">
            <a:avLst>
              <a:gd name="adj" fmla="val 25000"/>
            </a:avLst>
          </a:prstGeom>
          <a:solidFill>
            <a:schemeClr val="accent6"/>
          </a:solidFill>
          <a:ln w="31750" cap="flat" cmpd="sng" algn="ctr">
            <a:solidFill>
              <a:schemeClr val="bg2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Horizon 2</a:t>
            </a:r>
          </a:p>
          <a:p>
            <a:pPr marL="0" marR="0" lvl="0" indent="0" algn="ctr" defTabSz="90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ed datasets and records</a:t>
            </a:r>
          </a:p>
        </p:txBody>
      </p:sp>
      <p:sp>
        <p:nvSpPr>
          <p:cNvPr id="31" name="Chevron 21">
            <a:extLst>
              <a:ext uri="{FF2B5EF4-FFF2-40B4-BE49-F238E27FC236}">
                <a16:creationId xmlns:a16="http://schemas.microsoft.com/office/drawing/2014/main" id="{95F1DC4A-3499-DF5F-A5EE-1FAFB92CB879}"/>
              </a:ext>
            </a:extLst>
          </p:cNvPr>
          <p:cNvSpPr>
            <a:spLocks/>
          </p:cNvSpPr>
          <p:nvPr/>
        </p:nvSpPr>
        <p:spPr>
          <a:xfrm>
            <a:off x="6451615" y="5528714"/>
            <a:ext cx="2447646" cy="515687"/>
          </a:xfrm>
          <a:prstGeom prst="chevron">
            <a:avLst>
              <a:gd name="adj" fmla="val 25000"/>
            </a:avLst>
          </a:prstGeom>
          <a:solidFill>
            <a:schemeClr val="accent6"/>
          </a:solidFill>
          <a:ln w="31750" cap="flat" cmpd="sng" algn="ctr">
            <a:solidFill>
              <a:schemeClr val="bg2">
                <a:lumMod val="10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Horizon 3</a:t>
            </a:r>
          </a:p>
          <a:p>
            <a:pPr marL="0" marR="0" lvl="0" indent="0" algn="ctr" defTabSz="905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regulatory outcomes </a:t>
            </a: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0EA56CEB-A7D1-CD2E-8866-D24A971022B4}"/>
              </a:ext>
            </a:extLst>
          </p:cNvPr>
          <p:cNvSpPr/>
          <p:nvPr/>
        </p:nvSpPr>
        <p:spPr>
          <a:xfrm>
            <a:off x="2854957" y="1891497"/>
            <a:ext cx="4732099" cy="153750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0396B8F-04E8-9B40-0251-C8CE4FB2A05D}"/>
              </a:ext>
            </a:extLst>
          </p:cNvPr>
          <p:cNvCxnSpPr>
            <a:cxnSpLocks/>
          </p:cNvCxnSpPr>
          <p:nvPr/>
        </p:nvCxnSpPr>
        <p:spPr>
          <a:xfrm>
            <a:off x="3847657" y="2691969"/>
            <a:ext cx="2795489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EBF8D30F-C0BC-55FB-992E-45299F9C0D44}"/>
              </a:ext>
            </a:extLst>
          </p:cNvPr>
          <p:cNvSpPr/>
          <p:nvPr/>
        </p:nvSpPr>
        <p:spPr>
          <a:xfrm>
            <a:off x="4300230" y="2208535"/>
            <a:ext cx="1805725" cy="5334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ople with disability achieve their aspirations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1FCE7B9-1956-8A84-721E-6F8B756C20D1}"/>
              </a:ext>
            </a:extLst>
          </p:cNvPr>
          <p:cNvSpPr/>
          <p:nvPr/>
        </p:nvSpPr>
        <p:spPr>
          <a:xfrm>
            <a:off x="3171452" y="2818051"/>
            <a:ext cx="1244912" cy="5334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nt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ing and empowering people with disability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CAF65ED-9560-62A2-627C-16F2A9CC7BEE}"/>
              </a:ext>
            </a:extLst>
          </p:cNvPr>
          <p:cNvCxnSpPr>
            <a:cxnSpLocks/>
          </p:cNvCxnSpPr>
          <p:nvPr/>
        </p:nvCxnSpPr>
        <p:spPr>
          <a:xfrm>
            <a:off x="4432550" y="2691969"/>
            <a:ext cx="0" cy="73680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2FA58FDC-1643-7A1D-14A1-9C1D08CDC39B}"/>
              </a:ext>
            </a:extLst>
          </p:cNvPr>
          <p:cNvSpPr/>
          <p:nvPr/>
        </p:nvSpPr>
        <p:spPr>
          <a:xfrm>
            <a:off x="2854956" y="3511144"/>
            <a:ext cx="4732099" cy="11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8000" tIns="72000" rIns="4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Pillar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A0F549F-F58E-32BA-F999-6C0EEF36F129}"/>
              </a:ext>
            </a:extLst>
          </p:cNvPr>
          <p:cNvSpPr/>
          <p:nvPr/>
        </p:nvSpPr>
        <p:spPr>
          <a:xfrm>
            <a:off x="2932190" y="3798910"/>
            <a:ext cx="864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itive participant and provider experienc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5BC7F75-4AF2-6F42-C2B0-1FF432078E1A}"/>
              </a:ext>
            </a:extLst>
          </p:cNvPr>
          <p:cNvSpPr/>
          <p:nvPr/>
        </p:nvSpPr>
        <p:spPr>
          <a:xfrm>
            <a:off x="3847657" y="3798910"/>
            <a:ext cx="864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leadership and agility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EB0133D-6DD4-7CB0-B385-2D37C6E5EDA3}"/>
              </a:ext>
            </a:extLst>
          </p:cNvPr>
          <p:cNvSpPr/>
          <p:nvPr/>
        </p:nvSpPr>
        <p:spPr>
          <a:xfrm>
            <a:off x="4763124" y="3798910"/>
            <a:ext cx="864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bust data governance 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58AA022-1B30-D672-5E55-771814983554}"/>
              </a:ext>
            </a:extLst>
          </p:cNvPr>
          <p:cNvSpPr/>
          <p:nvPr/>
        </p:nvSpPr>
        <p:spPr>
          <a:xfrm>
            <a:off x="5678591" y="3798910"/>
            <a:ext cx="864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ight and intelligence capabilit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4197614-5EAD-7EE5-C251-C673A9AF797C}"/>
              </a:ext>
            </a:extLst>
          </p:cNvPr>
          <p:cNvSpPr/>
          <p:nvPr/>
        </p:nvSpPr>
        <p:spPr>
          <a:xfrm>
            <a:off x="2854956" y="4692110"/>
            <a:ext cx="4732099" cy="658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8000" tIns="72000" rIns="48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Enabler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8E20DF2-B8F9-F7B8-CC13-6A12144A3AE2}"/>
              </a:ext>
            </a:extLst>
          </p:cNvPr>
          <p:cNvSpPr/>
          <p:nvPr/>
        </p:nvSpPr>
        <p:spPr>
          <a:xfrm>
            <a:off x="2918421" y="5006352"/>
            <a:ext cx="2232000" cy="258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rIns="144000" bIns="36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Architectur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7E0A9E2-DB45-078C-94AD-16CCF8EBAB3C}"/>
              </a:ext>
            </a:extLst>
          </p:cNvPr>
          <p:cNvSpPr/>
          <p:nvPr/>
        </p:nvSpPr>
        <p:spPr>
          <a:xfrm>
            <a:off x="4394399" y="2713027"/>
            <a:ext cx="828000" cy="5334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couraging safe, innovative, high quality support provision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F7CA137-D88E-6B75-145C-0A4E2EA97547}"/>
              </a:ext>
            </a:extLst>
          </p:cNvPr>
          <p:cNvSpPr/>
          <p:nvPr/>
        </p:nvSpPr>
        <p:spPr>
          <a:xfrm>
            <a:off x="5231864" y="2722909"/>
            <a:ext cx="770508" cy="5334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moting a safe and competent workforce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1B60D19-4C23-586E-27A0-E76F8D97ECEF}"/>
              </a:ext>
            </a:extLst>
          </p:cNvPr>
          <p:cNvSpPr/>
          <p:nvPr/>
        </p:nvSpPr>
        <p:spPr>
          <a:xfrm>
            <a:off x="5998914" y="2796535"/>
            <a:ext cx="1260868" cy="6252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QSC Staf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, attract and retain staff with the right skills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ributes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AE9B24B-9718-69B7-9F16-8DE73A5A4352}"/>
              </a:ext>
            </a:extLst>
          </p:cNvPr>
          <p:cNvCxnSpPr>
            <a:cxnSpLocks/>
            <a:endCxn id="32" idx="3"/>
          </p:cNvCxnSpPr>
          <p:nvPr/>
        </p:nvCxnSpPr>
        <p:spPr>
          <a:xfrm>
            <a:off x="5215852" y="2691969"/>
            <a:ext cx="5155" cy="73703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10C7302-CE69-C3F9-28BC-ACB9D92C2C28}"/>
              </a:ext>
            </a:extLst>
          </p:cNvPr>
          <p:cNvCxnSpPr>
            <a:cxnSpLocks/>
          </p:cNvCxnSpPr>
          <p:nvPr/>
        </p:nvCxnSpPr>
        <p:spPr>
          <a:xfrm>
            <a:off x="5983223" y="2691969"/>
            <a:ext cx="0" cy="73680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A316345D-0017-C95E-4CFB-55D22BC2624A}"/>
              </a:ext>
            </a:extLst>
          </p:cNvPr>
          <p:cNvSpPr/>
          <p:nvPr/>
        </p:nvSpPr>
        <p:spPr>
          <a:xfrm>
            <a:off x="5212715" y="5006351"/>
            <a:ext cx="2232000" cy="258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Competencie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4EE8582-52F9-C725-DCDE-83F0F2D4B53D}"/>
              </a:ext>
            </a:extLst>
          </p:cNvPr>
          <p:cNvSpPr/>
          <p:nvPr/>
        </p:nvSpPr>
        <p:spPr>
          <a:xfrm>
            <a:off x="6594060" y="3798910"/>
            <a:ext cx="864000" cy="7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powered Commission staff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E0D96FE-CA77-2527-59DA-C75EF61515F6}"/>
              </a:ext>
            </a:extLst>
          </p:cNvPr>
          <p:cNvCxnSpPr>
            <a:cxnSpLocks/>
          </p:cNvCxnSpPr>
          <p:nvPr/>
        </p:nvCxnSpPr>
        <p:spPr>
          <a:xfrm>
            <a:off x="5217688" y="2684991"/>
            <a:ext cx="5155" cy="73703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EAADA81-5053-CD8B-0E8B-68A07470DC72}"/>
              </a:ext>
            </a:extLst>
          </p:cNvPr>
          <p:cNvCxnSpPr>
            <a:cxnSpLocks/>
          </p:cNvCxnSpPr>
          <p:nvPr/>
        </p:nvCxnSpPr>
        <p:spPr>
          <a:xfrm>
            <a:off x="5985059" y="2684991"/>
            <a:ext cx="0" cy="73680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DEB01308-EC68-A740-9313-49C8A10AB419}"/>
              </a:ext>
            </a:extLst>
          </p:cNvPr>
          <p:cNvSpPr/>
          <p:nvPr/>
        </p:nvSpPr>
        <p:spPr>
          <a:xfrm>
            <a:off x="9199122" y="1989275"/>
            <a:ext cx="2520000" cy="58860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rching 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on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fines why the Data and Digital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01C93C1-635A-575C-1071-08284479CC61}"/>
              </a:ext>
            </a:extLst>
          </p:cNvPr>
          <p:cNvSpPr/>
          <p:nvPr/>
        </p:nvSpPr>
        <p:spPr>
          <a:xfrm>
            <a:off x="9199122" y="2754194"/>
            <a:ext cx="2520000" cy="35225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stakeholders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B5EC6B7-4BF8-F8B4-C21A-F7AC539BE9AB}"/>
              </a:ext>
            </a:extLst>
          </p:cNvPr>
          <p:cNvSpPr/>
          <p:nvPr/>
        </p:nvSpPr>
        <p:spPr>
          <a:xfrm>
            <a:off x="9199122" y="3647983"/>
            <a:ext cx="2520000" cy="58860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data and digital 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lar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at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s for stakeholders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954A8ED-26D1-50B5-5BF4-CD314AE58D04}"/>
              </a:ext>
            </a:extLst>
          </p:cNvPr>
          <p:cNvSpPr/>
          <p:nvPr/>
        </p:nvSpPr>
        <p:spPr>
          <a:xfrm>
            <a:off x="9199122" y="4647309"/>
            <a:ext cx="2520000" cy="58860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r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the foundation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on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962C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the pillars are built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3120A2E-C453-8AC4-4E94-536ECB84A4EB}"/>
              </a:ext>
            </a:extLst>
          </p:cNvPr>
          <p:cNvCxnSpPr>
            <a:cxnSpLocks/>
          </p:cNvCxnSpPr>
          <p:nvPr/>
        </p:nvCxnSpPr>
        <p:spPr>
          <a:xfrm>
            <a:off x="5998914" y="2272406"/>
            <a:ext cx="3200208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00D9296-FC0D-BE8C-F12F-724C9968AB11}"/>
              </a:ext>
            </a:extLst>
          </p:cNvPr>
          <p:cNvCxnSpPr>
            <a:cxnSpLocks/>
          </p:cNvCxnSpPr>
          <p:nvPr/>
        </p:nvCxnSpPr>
        <p:spPr>
          <a:xfrm>
            <a:off x="7685794" y="3940453"/>
            <a:ext cx="1513328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BF2910DA-4E4B-A90E-3D00-5F7C40888CE8}"/>
              </a:ext>
            </a:extLst>
          </p:cNvPr>
          <p:cNvCxnSpPr>
            <a:cxnSpLocks/>
          </p:cNvCxnSpPr>
          <p:nvPr/>
        </p:nvCxnSpPr>
        <p:spPr>
          <a:xfrm>
            <a:off x="7685794" y="4933554"/>
            <a:ext cx="1513328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451F67F6-E0A5-50AC-A947-62E5B28C9688}"/>
              </a:ext>
            </a:extLst>
          </p:cNvPr>
          <p:cNvCxnSpPr>
            <a:cxnSpLocks/>
          </p:cNvCxnSpPr>
          <p:nvPr/>
        </p:nvCxnSpPr>
        <p:spPr>
          <a:xfrm>
            <a:off x="7117819" y="2911777"/>
            <a:ext cx="2081303" cy="0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65337C2E-7E37-436A-BA72-BEBE64147779}"/>
              </a:ext>
            </a:extLst>
          </p:cNvPr>
          <p:cNvSpPr/>
          <p:nvPr/>
        </p:nvSpPr>
        <p:spPr>
          <a:xfrm>
            <a:off x="9199122" y="5505517"/>
            <a:ext cx="2520000" cy="57385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horizons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s for stakeholders 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FB37159D-12B3-7FCF-0750-66C730D29EC3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8899261" y="5784387"/>
            <a:ext cx="299861" cy="2171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High level title">
            <a:extLst>
              <a:ext uri="{FF2B5EF4-FFF2-40B4-BE49-F238E27FC236}">
                <a16:creationId xmlns:a16="http://schemas.microsoft.com/office/drawing/2014/main" id="{8FF62861-10BB-E8F9-09B6-4053B563C34A}"/>
              </a:ext>
            </a:extLst>
          </p:cNvPr>
          <p:cNvSpPr>
            <a:spLocks/>
          </p:cNvSpPr>
          <p:nvPr/>
        </p:nvSpPr>
        <p:spPr>
          <a:xfrm>
            <a:off x="863815" y="1628570"/>
            <a:ext cx="3619565" cy="391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</a:t>
            </a:r>
            <a:r>
              <a:rPr lang="en-GB" sz="1600" b="1" dirty="0" smtClean="0">
                <a:solidFill>
                  <a:prstClr val="black"/>
                </a:solidFill>
                <a:latin typeface="Calibri" panose="020F0502020204030204"/>
              </a:rPr>
              <a:t>Roadmap</a:t>
            </a: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amework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1653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90C1C8-14FB-2021-DF22-7F5A6675D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5" imgW="490" imgH="490" progId="TCLayout.ActiveDocument.1">
                  <p:embed/>
                </p:oleObj>
              </mc:Choice>
              <mc:Fallback>
                <p:oleObj name="think-cell Slide" r:id="rId5" imgW="490" imgH="49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90C1C8-14FB-2021-DF22-7F5A6675D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B26310-D5E8-DF21-4F4C-795A8AAFE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754937" cy="1376364"/>
          </a:xfrm>
        </p:spPr>
        <p:txBody>
          <a:bodyPr vert="horz"/>
          <a:lstStyle/>
          <a:p>
            <a:r>
              <a:rPr lang="en-GB" dirty="0"/>
              <a:t>The risk of not transforming data and digital across the Commission is significa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81BA1E-0C32-D5E1-6622-77E82CA39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7D6A454-F326-97A0-7090-13F2F7673DC1}"/>
              </a:ext>
            </a:extLst>
          </p:cNvPr>
          <p:cNvGrpSpPr>
            <a:grpSpLocks/>
          </p:cNvGrpSpPr>
          <p:nvPr/>
        </p:nvGrpSpPr>
        <p:grpSpPr>
          <a:xfrm>
            <a:off x="982663" y="1548691"/>
            <a:ext cx="10690677" cy="845397"/>
            <a:chOff x="928853" y="1196975"/>
            <a:chExt cx="7037805" cy="845397"/>
          </a:xfrm>
        </p:grpSpPr>
        <p:sp>
          <p:nvSpPr>
            <p:cNvPr id="7" name="TextBox 4">
              <a:extLst>
                <a:ext uri="{FF2B5EF4-FFF2-40B4-BE49-F238E27FC236}">
                  <a16:creationId xmlns:a16="http://schemas.microsoft.com/office/drawing/2014/main" id="{EADB1A52-07F1-F6EC-BE0D-197B1F4C8E60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928853" y="1196975"/>
              <a:ext cx="3160064" cy="845397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vert="horz" wrap="square" lIns="144000" tIns="540000" rIns="144000" bIns="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270000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tabLst>
                  <a:tab pos="270000" algn="l"/>
                </a:tabLst>
                <a:defRPr sz="1400" kern="0"/>
              </a:lvl1pPr>
              <a:lvl2pPr marL="540000" lvl="1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tabLst>
                  <a:tab pos="270000" algn="l"/>
                </a:tabLst>
                <a:defRPr sz="1400" kern="0"/>
              </a:lvl2pPr>
              <a:lvl3pPr marL="810000" lvl="2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tabLst>
                  <a:tab pos="270000" algn="l"/>
                </a:tabLst>
                <a:defRPr sz="1400" kern="0"/>
              </a:lvl3pPr>
              <a:lvl4pPr marL="1080000" lvl="3" indent="-270000" defTabSz="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tabLst>
                  <a:tab pos="270000" algn="l"/>
                </a:tabLst>
                <a:defRPr sz="1400" kern="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4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1400"/>
              </a:lvl9pPr>
            </a:lstStyle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endPara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endParaRPr lang="en-GB" sz="1100" b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endParaRPr kumimoji="0" lang="en-GB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bility </a:t>
              </a: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safeguard </a:t>
              </a: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ticipants and </a:t>
              </a: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hieve Commission </a:t>
              </a:r>
            </a:p>
            <a:p>
              <a:pPr marL="0" marR="0" lvl="0" indent="0" algn="l" defTabSz="270000" rtl="0" eaLnBrk="1" fontAlgn="base" latinLnBrk="0" hangingPunct="1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>
                  <a:tab pos="270000" algn="l"/>
                </a:tabLst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ision 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A3D24AB-9B02-9795-EBC7-3DE3457CCE40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928853" y="1196975"/>
              <a:ext cx="7037805" cy="391628"/>
            </a:xfrm>
            <a:prstGeom prst="rect">
              <a:avLst/>
            </a:prstGeom>
            <a:solidFill>
              <a:schemeClr val="tx2"/>
            </a:solidFill>
            <a:ln w="6350">
              <a:noFill/>
              <a:miter lim="800000"/>
              <a:headEnd/>
              <a:tailEnd/>
            </a:ln>
          </p:spPr>
          <p:txBody>
            <a:bodyPr vert="horz" wrap="square" lIns="146304" tIns="72000" rIns="144000" bIns="7200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indent="0" fontAlgn="base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None/>
                <a:defRPr sz="1600" b="1" kern="0">
                  <a:solidFill>
                    <a:schemeClr val="bg1"/>
                  </a:solidFill>
                </a:defRPr>
              </a:lvl1pPr>
              <a:lvl2pPr marL="540000" indent="-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Font typeface="Calibri" panose="020F0502020204030204" pitchFamily="34" charset="0"/>
                <a:buChar char="‒"/>
                <a:defRPr sz="1400"/>
              </a:lvl2pPr>
              <a:lvl3pPr marL="810000" indent="-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Courier New" panose="02070309020205020404" pitchFamily="49" charset="0"/>
                <a:buChar char="o"/>
                <a:defRPr sz="1400"/>
              </a:lvl3pPr>
              <a:lvl4pPr marL="1080000" indent="-27000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§"/>
                <a:defRPr sz="1400"/>
              </a:lvl4pPr>
              <a:lvl5pPr marL="810000" indent="0" defTabSz="895350" fontAlgn="base">
                <a:lnSpc>
                  <a:spcPct val="12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18345E"/>
                </a:buClr>
                <a:buFont typeface="Wingdings" panose="05000000000000000000" pitchFamily="2" charset="2"/>
                <a:buNone/>
                <a:defRPr sz="1400" baseline="0"/>
              </a:lvl5pPr>
              <a:lvl6pPr marL="2152650" indent="-361950" fontAlgn="base">
                <a:spcBef>
                  <a:spcPct val="20000"/>
                </a:spcBef>
                <a:spcAft>
                  <a:spcPct val="0"/>
                </a:spcAft>
                <a:buFont typeface="Calibri" pitchFamily="34" charset="0"/>
                <a:buChar char="­"/>
                <a:defRPr sz="1600"/>
              </a:lvl6pPr>
              <a:lvl7pPr marL="29718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/>
              </a:lvl7pPr>
              <a:lvl8pPr marL="34290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/>
              </a:lvl8pPr>
              <a:lvl9pPr marL="3886200" indent="-228600" fontAlgn="base">
                <a:spcBef>
                  <a:spcPct val="20000"/>
                </a:spcBef>
                <a:spcAft>
                  <a:spcPct val="0"/>
                </a:spcAft>
                <a:buChar char="»"/>
                <a:defRPr sz="2000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e cost of not transforming  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24F958-F02C-CFCA-FD5C-629DDC4C9214}"/>
              </a:ext>
            </a:extLst>
          </p:cNvPr>
          <p:cNvGrpSpPr/>
          <p:nvPr/>
        </p:nvGrpSpPr>
        <p:grpSpPr>
          <a:xfrm>
            <a:off x="2024455" y="1959530"/>
            <a:ext cx="8154737" cy="3169608"/>
            <a:chOff x="2024455" y="2147785"/>
            <a:chExt cx="8154737" cy="3327264"/>
          </a:xfrm>
        </p:grpSpPr>
        <p:graphicFrame>
          <p:nvGraphicFramePr>
            <p:cNvPr id="9" name="Object 4">
              <a:extLst>
                <a:ext uri="{FF2B5EF4-FFF2-40B4-BE49-F238E27FC236}">
                  <a16:creationId xmlns:a16="http://schemas.microsoft.com/office/drawing/2014/main" id="{0EE306E9-72F1-C327-9835-1E02821073C0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024455" y="2147785"/>
            <a:ext cx="8154737" cy="33272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D67F3B94-4969-E49D-476A-AA19436A0AAD}"/>
                </a:ext>
              </a:extLst>
            </p:cNvPr>
            <p:cNvCxnSpPr/>
            <p:nvPr/>
          </p:nvCxnSpPr>
          <p:spPr>
            <a:xfrm flipV="1">
              <a:off x="4266130" y="2390799"/>
              <a:ext cx="0" cy="2720678"/>
            </a:xfrm>
            <a:prstGeom prst="line">
              <a:avLst/>
            </a:prstGeom>
            <a:ln w="15875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0D344DD9-9098-FBC1-6020-7254B794AFD5}"/>
              </a:ext>
            </a:extLst>
          </p:cNvPr>
          <p:cNvSpPr/>
          <p:nvPr/>
        </p:nvSpPr>
        <p:spPr>
          <a:xfrm>
            <a:off x="10256593" y="3850353"/>
            <a:ext cx="1360341" cy="35225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qu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E683DC-754C-CCCB-D50A-E4D396B06402}"/>
              </a:ext>
            </a:extLst>
          </p:cNvPr>
          <p:cNvSpPr/>
          <p:nvPr/>
        </p:nvSpPr>
        <p:spPr>
          <a:xfrm>
            <a:off x="10271969" y="2114938"/>
            <a:ext cx="1360341" cy="10318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72000" rIns="144000" bIns="72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 of delivering Data and Digital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392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</a:t>
            </a: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5392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748B08-CCD9-E436-BF15-B864BCB03A49}"/>
              </a:ext>
            </a:extLst>
          </p:cNvPr>
          <p:cNvSpPr txBox="1"/>
          <p:nvPr/>
        </p:nvSpPr>
        <p:spPr>
          <a:xfrm>
            <a:off x="6199196" y="4671948"/>
            <a:ext cx="449561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9395BD4-A145-955E-6E96-66F9BF00FFA0}"/>
              </a:ext>
            </a:extLst>
          </p:cNvPr>
          <p:cNvSpPr txBox="1"/>
          <p:nvPr/>
        </p:nvSpPr>
        <p:spPr>
          <a:xfrm>
            <a:off x="2473121" y="3276600"/>
            <a:ext cx="1756540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ing manual work arounds and off system workarounds across operatio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F1581DC5-B499-C039-FF4F-464CD74B4D28}"/>
              </a:ext>
            </a:extLst>
          </p:cNvPr>
          <p:cNvCxnSpPr>
            <a:cxnSpLocks/>
          </p:cNvCxnSpPr>
          <p:nvPr/>
        </p:nvCxnSpPr>
        <p:spPr>
          <a:xfrm>
            <a:off x="3330976" y="3051477"/>
            <a:ext cx="0" cy="225123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6D1BCEF4-78CC-2198-39DB-3B85EF4C14DC}"/>
              </a:ext>
            </a:extLst>
          </p:cNvPr>
          <p:cNvSpPr txBox="1"/>
          <p:nvPr/>
        </p:nvSpPr>
        <p:spPr>
          <a:xfrm>
            <a:off x="4665815" y="3606800"/>
            <a:ext cx="189616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of flexibility to adapt to changing regulatory framework / policy chang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E8CD63D-1A97-76EA-690D-B860BE5A04BA}"/>
              </a:ext>
            </a:extLst>
          </p:cNvPr>
          <p:cNvCxnSpPr>
            <a:cxnSpLocks/>
          </p:cNvCxnSpPr>
          <p:nvPr/>
        </p:nvCxnSpPr>
        <p:spPr>
          <a:xfrm>
            <a:off x="5593484" y="3381677"/>
            <a:ext cx="0" cy="225123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2A80302A-5BF5-2E7E-88AE-493A819F46A2}"/>
              </a:ext>
            </a:extLst>
          </p:cNvPr>
          <p:cNvSpPr txBox="1"/>
          <p:nvPr/>
        </p:nvSpPr>
        <p:spPr>
          <a:xfrm>
            <a:off x="6944083" y="3982839"/>
            <a:ext cx="2479316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rge proportion of staff time focused on </a:t>
            </a:r>
            <a:r>
              <a:rPr kumimoji="0" lang="en-A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al administration,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ther than proactive regulatory risk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E9AECF6-93A7-4FD4-C182-ECC6B0C82FA5}"/>
              </a:ext>
            </a:extLst>
          </p:cNvPr>
          <p:cNvCxnSpPr>
            <a:cxnSpLocks/>
          </p:cNvCxnSpPr>
          <p:nvPr/>
        </p:nvCxnSpPr>
        <p:spPr>
          <a:xfrm>
            <a:off x="8163326" y="3757716"/>
            <a:ext cx="0" cy="225123"/>
          </a:xfrm>
          <a:prstGeom prst="straightConnector1">
            <a:avLst/>
          </a:prstGeom>
          <a:ln w="9525" cap="rnd">
            <a:solidFill>
              <a:schemeClr val="tx2"/>
            </a:solidFill>
            <a:prstDash val="lgDash"/>
            <a:bevel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A74ECB6-8830-5CFF-65AF-D5EB025C2EF9}"/>
              </a:ext>
            </a:extLst>
          </p:cNvPr>
          <p:cNvGrpSpPr/>
          <p:nvPr/>
        </p:nvGrpSpPr>
        <p:grpSpPr>
          <a:xfrm>
            <a:off x="912713" y="5095186"/>
            <a:ext cx="2439005" cy="1359170"/>
            <a:chOff x="891971" y="4953009"/>
            <a:chExt cx="2439005" cy="1359170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3F95082-8DA9-9FD2-E141-829BB4A6B6CD}"/>
                </a:ext>
              </a:extLst>
            </p:cNvPr>
            <p:cNvSpPr txBox="1"/>
            <p:nvPr/>
          </p:nvSpPr>
          <p:spPr>
            <a:xfrm>
              <a:off x="891971" y="5219572"/>
              <a:ext cx="2439005" cy="10926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ck of system alerts for high regulatory risk exposur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ck of adaptability to changing regulatory and policy requirement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41332613-4D80-26B9-3F3F-D8B06BC02EAA}"/>
                </a:ext>
              </a:extLst>
            </p:cNvPr>
            <p:cNvSpPr/>
            <p:nvPr/>
          </p:nvSpPr>
          <p:spPr>
            <a:xfrm>
              <a:off x="1136651" y="4953009"/>
              <a:ext cx="1949644" cy="35225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72000" rIns="144000" bIns="7200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F2E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c Risks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7F3ED65-9DBA-81BC-6CFA-A1C3396124B9}"/>
              </a:ext>
            </a:extLst>
          </p:cNvPr>
          <p:cNvGrpSpPr/>
          <p:nvPr/>
        </p:nvGrpSpPr>
        <p:grpSpPr>
          <a:xfrm>
            <a:off x="3686587" y="5095186"/>
            <a:ext cx="2606148" cy="1543836"/>
            <a:chOff x="891971" y="4953009"/>
            <a:chExt cx="2439005" cy="1543836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7535CA4-B106-FED7-9842-E39FFE4F5D34}"/>
                </a:ext>
              </a:extLst>
            </p:cNvPr>
            <p:cNvSpPr txBox="1"/>
            <p:nvPr/>
          </p:nvSpPr>
          <p:spPr>
            <a:xfrm>
              <a:off x="891971" y="5219572"/>
              <a:ext cx="2439005" cy="127727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stem </a:t>
              </a: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s limited alerts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 high-risk participants and provider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t able to generate insights for proactive identification of systemic risk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4AEE66A-41A5-8548-1545-A35A19ADB7CA}"/>
                </a:ext>
              </a:extLst>
            </p:cNvPr>
            <p:cNvSpPr/>
            <p:nvPr/>
          </p:nvSpPr>
          <p:spPr>
            <a:xfrm>
              <a:off x="1136651" y="4953009"/>
              <a:ext cx="1949644" cy="35225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72000" rIns="144000" bIns="7200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F2E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keholder Risks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4ACBD3E-C2B3-1184-C834-070E7AAF699A}"/>
              </a:ext>
            </a:extLst>
          </p:cNvPr>
          <p:cNvGrpSpPr/>
          <p:nvPr/>
        </p:nvGrpSpPr>
        <p:grpSpPr>
          <a:xfrm>
            <a:off x="6460461" y="5095186"/>
            <a:ext cx="2439005" cy="1174504"/>
            <a:chOff x="891971" y="4953009"/>
            <a:chExt cx="2439005" cy="1174504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A0CFB435-CBF5-4229-15FE-BCD7F67A6BC3}"/>
                </a:ext>
              </a:extLst>
            </p:cNvPr>
            <p:cNvSpPr txBox="1"/>
            <p:nvPr/>
          </p:nvSpPr>
          <p:spPr>
            <a:xfrm>
              <a:off x="891971" y="5219572"/>
              <a:ext cx="2439005" cy="90794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A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ck of 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lear and consistent regulatory risk framework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mited ability to identify and manage risks</a:t>
              </a: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0668E7D-44D8-FBF8-5010-A63699A2E5A2}"/>
                </a:ext>
              </a:extLst>
            </p:cNvPr>
            <p:cNvSpPr/>
            <p:nvPr/>
          </p:nvSpPr>
          <p:spPr>
            <a:xfrm>
              <a:off x="1136651" y="4953009"/>
              <a:ext cx="1949644" cy="35225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72000" rIns="144000" bIns="7200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F2E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gulatory Risks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C8B4EA8-E15D-47D3-8E5D-B35973ED5036}"/>
              </a:ext>
            </a:extLst>
          </p:cNvPr>
          <p:cNvGrpSpPr/>
          <p:nvPr/>
        </p:nvGrpSpPr>
        <p:grpSpPr>
          <a:xfrm>
            <a:off x="9234335" y="5095186"/>
            <a:ext cx="2439005" cy="1620780"/>
            <a:chOff x="891971" y="4953009"/>
            <a:chExt cx="2439005" cy="1620780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9191CFE-F52D-71D2-95B8-11D44CCD15B2}"/>
                </a:ext>
              </a:extLst>
            </p:cNvPr>
            <p:cNvSpPr txBox="1"/>
            <p:nvPr/>
          </p:nvSpPr>
          <p:spPr>
            <a:xfrm>
              <a:off x="891971" y="5219572"/>
              <a:ext cx="2439005" cy="135421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ack of data and reporting to identify compliance issue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A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isk of missed inbound information due to system limitation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C9B3E2A-DEEA-3741-EE54-ACF9B08139BC}"/>
                </a:ext>
              </a:extLst>
            </p:cNvPr>
            <p:cNvSpPr/>
            <p:nvPr/>
          </p:nvSpPr>
          <p:spPr>
            <a:xfrm>
              <a:off x="1136651" y="4953009"/>
              <a:ext cx="1949644" cy="35225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72000" rIns="144000" bIns="7200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F2E7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erational Risks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57F3B32-8A2B-BDC1-0569-BD781CC08E0F}"/>
              </a:ext>
            </a:extLst>
          </p:cNvPr>
          <p:cNvGrpSpPr/>
          <p:nvPr/>
        </p:nvGrpSpPr>
        <p:grpSpPr>
          <a:xfrm>
            <a:off x="201744" y="1474569"/>
            <a:ext cx="539669" cy="509062"/>
            <a:chOff x="9268928" y="1999013"/>
            <a:chExt cx="539669" cy="509062"/>
          </a:xfrm>
        </p:grpSpPr>
        <p:sp>
          <p:nvSpPr>
            <p:cNvPr id="74" name="Pentagon 20">
              <a:extLst>
                <a:ext uri="{FF2B5EF4-FFF2-40B4-BE49-F238E27FC236}">
                  <a16:creationId xmlns:a16="http://schemas.microsoft.com/office/drawing/2014/main" id="{B3F1E951-DBB9-B895-728C-633B0080754F}"/>
                </a:ext>
              </a:extLst>
            </p:cNvPr>
            <p:cNvSpPr>
              <a:spLocks/>
            </p:cNvSpPr>
            <p:nvPr/>
          </p:nvSpPr>
          <p:spPr>
            <a:xfrm>
              <a:off x="9268928" y="2448277"/>
              <a:ext cx="182730" cy="59798"/>
            </a:xfrm>
            <a:prstGeom prst="homePlate">
              <a:avLst>
                <a:gd name="adj" fmla="val 25000"/>
              </a:avLst>
            </a:prstGeom>
            <a:solidFill>
              <a:schemeClr val="accent6"/>
            </a:solidFill>
            <a:ln w="31750" cap="flat" cmpd="sng" algn="ctr">
              <a:solidFill>
                <a:schemeClr val="bg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Chevron 21">
              <a:extLst>
                <a:ext uri="{FF2B5EF4-FFF2-40B4-BE49-F238E27FC236}">
                  <a16:creationId xmlns:a16="http://schemas.microsoft.com/office/drawing/2014/main" id="{86F69F9D-0BBA-833C-20F8-9A32F418B62C}"/>
                </a:ext>
              </a:extLst>
            </p:cNvPr>
            <p:cNvSpPr>
              <a:spLocks/>
            </p:cNvSpPr>
            <p:nvPr/>
          </p:nvSpPr>
          <p:spPr>
            <a:xfrm>
              <a:off x="9451658" y="2448277"/>
              <a:ext cx="182730" cy="59798"/>
            </a:xfrm>
            <a:prstGeom prst="chevron">
              <a:avLst>
                <a:gd name="adj" fmla="val 25000"/>
              </a:avLst>
            </a:prstGeom>
            <a:solidFill>
              <a:schemeClr val="accent6"/>
            </a:solidFill>
            <a:ln w="31750" cap="flat" cmpd="sng" algn="ctr">
              <a:solidFill>
                <a:schemeClr val="bg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Chevron 21">
              <a:extLst>
                <a:ext uri="{FF2B5EF4-FFF2-40B4-BE49-F238E27FC236}">
                  <a16:creationId xmlns:a16="http://schemas.microsoft.com/office/drawing/2014/main" id="{9A702867-BC2A-60FC-812D-BF91E7DB7A68}"/>
                </a:ext>
              </a:extLst>
            </p:cNvPr>
            <p:cNvSpPr>
              <a:spLocks/>
            </p:cNvSpPr>
            <p:nvPr/>
          </p:nvSpPr>
          <p:spPr>
            <a:xfrm>
              <a:off x="9625867" y="2448277"/>
              <a:ext cx="182730" cy="59798"/>
            </a:xfrm>
            <a:prstGeom prst="chevron">
              <a:avLst>
                <a:gd name="adj" fmla="val 25000"/>
              </a:avLst>
            </a:prstGeom>
            <a:solidFill>
              <a:schemeClr val="accent6"/>
            </a:solidFill>
            <a:ln w="31750" cap="flat" cmpd="sng" algn="ctr">
              <a:solidFill>
                <a:schemeClr val="bg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Isosceles Triangle 76">
              <a:extLst>
                <a:ext uri="{FF2B5EF4-FFF2-40B4-BE49-F238E27FC236}">
                  <a16:creationId xmlns:a16="http://schemas.microsoft.com/office/drawing/2014/main" id="{94089B85-B635-3483-592A-AA763D89A25C}"/>
                </a:ext>
              </a:extLst>
            </p:cNvPr>
            <p:cNvSpPr/>
            <p:nvPr/>
          </p:nvSpPr>
          <p:spPr>
            <a:xfrm>
              <a:off x="9366384" y="1999013"/>
              <a:ext cx="353276" cy="17828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5EC1BF8-7560-6768-6D76-F4D675BD677A}"/>
                </a:ext>
              </a:extLst>
            </p:cNvPr>
            <p:cNvSpPr/>
            <p:nvPr/>
          </p:nvSpPr>
          <p:spPr>
            <a:xfrm>
              <a:off x="9366384" y="2195566"/>
              <a:ext cx="353276" cy="1335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8000" tIns="72000" rIns="48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9E0C004-69CC-4E04-3B4D-2E21685E860F}"/>
                </a:ext>
              </a:extLst>
            </p:cNvPr>
            <p:cNvSpPr/>
            <p:nvPr/>
          </p:nvSpPr>
          <p:spPr>
            <a:xfrm>
              <a:off x="9369462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18138DC-0CA3-090F-996F-6FFA79482873}"/>
                </a:ext>
              </a:extLst>
            </p:cNvPr>
            <p:cNvSpPr/>
            <p:nvPr/>
          </p:nvSpPr>
          <p:spPr>
            <a:xfrm>
              <a:off x="9438505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0AEE9DA1-9DC5-3791-28CA-D23E4B31758A}"/>
                </a:ext>
              </a:extLst>
            </p:cNvPr>
            <p:cNvSpPr/>
            <p:nvPr/>
          </p:nvSpPr>
          <p:spPr>
            <a:xfrm>
              <a:off x="9507548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1D1C8B1-EF02-92CC-1BEE-9316E0E3F47F}"/>
                </a:ext>
              </a:extLst>
            </p:cNvPr>
            <p:cNvSpPr/>
            <p:nvPr/>
          </p:nvSpPr>
          <p:spPr>
            <a:xfrm>
              <a:off x="9576591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74058CB6-4C59-E590-9CA8-F42FD8224D6E}"/>
                </a:ext>
              </a:extLst>
            </p:cNvPr>
            <p:cNvSpPr/>
            <p:nvPr/>
          </p:nvSpPr>
          <p:spPr>
            <a:xfrm>
              <a:off x="9366384" y="2343411"/>
              <a:ext cx="353276" cy="763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8000" tIns="72000" rIns="48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274F83DA-B3A4-4CB9-C2AA-7E169001CE3E}"/>
                </a:ext>
              </a:extLst>
            </p:cNvPr>
            <p:cNvSpPr/>
            <p:nvPr/>
          </p:nvSpPr>
          <p:spPr>
            <a:xfrm>
              <a:off x="9372477" y="2374861"/>
              <a:ext cx="166631" cy="299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bIns="3600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9A9467F9-BFA9-B6C1-6452-285A99423C6E}"/>
                </a:ext>
              </a:extLst>
            </p:cNvPr>
            <p:cNvSpPr/>
            <p:nvPr/>
          </p:nvSpPr>
          <p:spPr>
            <a:xfrm>
              <a:off x="9645634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E1898B83-2076-24CF-1269-EA001217489B}"/>
                </a:ext>
              </a:extLst>
            </p:cNvPr>
            <p:cNvCxnSpPr>
              <a:cxnSpLocks/>
            </p:cNvCxnSpPr>
            <p:nvPr/>
          </p:nvCxnSpPr>
          <p:spPr>
            <a:xfrm>
              <a:off x="9433964" y="2092918"/>
              <a:ext cx="224801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73B2AD4E-99CB-B3BB-D4D3-380F8CE79403}"/>
                </a:ext>
              </a:extLst>
            </p:cNvPr>
            <p:cNvCxnSpPr>
              <a:cxnSpLocks/>
            </p:cNvCxnSpPr>
            <p:nvPr/>
          </p:nvCxnSpPr>
          <p:spPr>
            <a:xfrm>
              <a:off x="9486723" y="2092918"/>
              <a:ext cx="0" cy="8838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4C16E630-0818-90F9-FE40-7FAE1E5F7A25}"/>
                </a:ext>
              </a:extLst>
            </p:cNvPr>
            <p:cNvCxnSpPr>
              <a:cxnSpLocks/>
            </p:cNvCxnSpPr>
            <p:nvPr/>
          </p:nvCxnSpPr>
          <p:spPr>
            <a:xfrm>
              <a:off x="9548358" y="2092918"/>
              <a:ext cx="0" cy="8838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1174B904-55FC-7D42-70FD-2A2752A0A7E7}"/>
                </a:ext>
              </a:extLst>
            </p:cNvPr>
            <p:cNvCxnSpPr>
              <a:cxnSpLocks/>
            </p:cNvCxnSpPr>
            <p:nvPr/>
          </p:nvCxnSpPr>
          <p:spPr>
            <a:xfrm>
              <a:off x="9613114" y="2092918"/>
              <a:ext cx="0" cy="8838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9B5CFEA3-0AA9-82CE-2B5B-363A001AD86A}"/>
                </a:ext>
              </a:extLst>
            </p:cNvPr>
            <p:cNvSpPr/>
            <p:nvPr/>
          </p:nvSpPr>
          <p:spPr>
            <a:xfrm>
              <a:off x="9548025" y="2374861"/>
              <a:ext cx="166631" cy="299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bIns="3600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1" name="Rectangle 90">
            <a:extLst>
              <a:ext uri="{FF2B5EF4-FFF2-40B4-BE49-F238E27FC236}">
                <a16:creationId xmlns:a16="http://schemas.microsoft.com/office/drawing/2014/main" id="{C879AF89-0A98-6299-2134-B0B1DC9BC023}"/>
              </a:ext>
            </a:extLst>
          </p:cNvPr>
          <p:cNvSpPr/>
          <p:nvPr/>
        </p:nvSpPr>
        <p:spPr>
          <a:xfrm>
            <a:off x="208508" y="1474569"/>
            <a:ext cx="532906" cy="182291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588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5B65A5-C337-13F7-A821-5A0BFD5859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5B65A5-C337-13F7-A821-5A0BFD5859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1E1092D-5453-F361-78CD-9A662091A1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/>
              <a:t>The pillars are the core of the Data and Digital </a:t>
            </a:r>
            <a:r>
              <a:rPr lang="en-US" dirty="0" smtClean="0"/>
              <a:t>Roadmap</a:t>
            </a:r>
            <a:endParaRPr lang="en-AU" dirty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3AB7E19-3F40-8956-7CE3-7705B40BB137}"/>
              </a:ext>
            </a:extLst>
          </p:cNvPr>
          <p:cNvSpPr>
            <a:spLocks/>
          </p:cNvSpPr>
          <p:nvPr/>
        </p:nvSpPr>
        <p:spPr bwMode="auto">
          <a:xfrm>
            <a:off x="4165600" y="1816118"/>
            <a:ext cx="7699329" cy="792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50400" tIns="49846" rIns="49846" bIns="49846" numCol="2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ible and multi-channel entry point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point for all provider need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parent interaction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2199B72-3A48-FC09-C643-1970C1A642D3}"/>
              </a:ext>
            </a:extLst>
          </p:cNvPr>
          <p:cNvSpPr>
            <a:spLocks/>
          </p:cNvSpPr>
          <p:nvPr/>
        </p:nvSpPr>
        <p:spPr bwMode="auto">
          <a:xfrm>
            <a:off x="4165600" y="2755284"/>
            <a:ext cx="7699329" cy="792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50400" tIns="49846" rIns="49846" bIns="49846" numCol="2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digital competency development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continuous improvement capability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ile and configurable systems to adjust with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ironmental and legislativ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ges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46E1C4A-CD5B-5062-43AA-32593794196C}"/>
              </a:ext>
            </a:extLst>
          </p:cNvPr>
          <p:cNvSpPr>
            <a:spLocks/>
          </p:cNvSpPr>
          <p:nvPr/>
        </p:nvSpPr>
        <p:spPr bwMode="auto">
          <a:xfrm>
            <a:off x="4165600" y="3694450"/>
            <a:ext cx="7699329" cy="792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50400" tIns="49846" rIns="49846" bIns="49846" numCol="2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 data governance and policy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ctured and understood dataset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 records and data management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093F6EC-71D6-712A-AFB1-CF8960D955B5}"/>
              </a:ext>
            </a:extLst>
          </p:cNvPr>
          <p:cNvSpPr>
            <a:spLocks/>
          </p:cNvSpPr>
          <p:nvPr/>
        </p:nvSpPr>
        <p:spPr bwMode="auto">
          <a:xfrm>
            <a:off x="4165600" y="4633448"/>
            <a:ext cx="7699329" cy="792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50400" tIns="49846" rIns="49846" bIns="49846" numCol="2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 analytical tools and capability</a:t>
            </a:r>
          </a:p>
          <a:p>
            <a:pPr marL="285750" indent="-285750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1400" kern="0" dirty="0">
                <a:solidFill>
                  <a:prstClr val="black"/>
                </a:solidFill>
              </a:rPr>
              <a:t>Machine learning / AI driven intelligence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AU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istent </a:t>
            </a: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ory risk framework and core system alerts informed by risk </a:t>
            </a:r>
            <a:r>
              <a:rPr kumimoji="0" lang="en-A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is</a:t>
            </a:r>
            <a:endParaRPr kumimoji="0" lang="en-AU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8A7A96A-3389-0315-358D-AB295284709A}"/>
              </a:ext>
            </a:extLst>
          </p:cNvPr>
          <p:cNvSpPr>
            <a:spLocks/>
          </p:cNvSpPr>
          <p:nvPr/>
        </p:nvSpPr>
        <p:spPr bwMode="auto">
          <a:xfrm>
            <a:off x="4165600" y="5572104"/>
            <a:ext cx="7699329" cy="792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50400" tIns="49846" rIns="49846" bIns="49846" numCol="2" anchor="ctr" anchorCtr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t-for-purpose system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supports flexible working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A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 core system supporting cross functional collaboration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6BF33A9-0186-2D77-255E-F7476CF4F75B}"/>
              </a:ext>
            </a:extLst>
          </p:cNvPr>
          <p:cNvCxnSpPr>
            <a:cxnSpLocks/>
          </p:cNvCxnSpPr>
          <p:nvPr/>
        </p:nvCxnSpPr>
        <p:spPr>
          <a:xfrm>
            <a:off x="4165600" y="2681673"/>
            <a:ext cx="76708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827F084-895C-71EB-8C80-D20D4763F60B}"/>
              </a:ext>
            </a:extLst>
          </p:cNvPr>
          <p:cNvCxnSpPr>
            <a:cxnSpLocks/>
          </p:cNvCxnSpPr>
          <p:nvPr/>
        </p:nvCxnSpPr>
        <p:spPr>
          <a:xfrm>
            <a:off x="4165600" y="3620783"/>
            <a:ext cx="76708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A839814-DF2D-CF83-AA27-9C39E983E260}"/>
              </a:ext>
            </a:extLst>
          </p:cNvPr>
          <p:cNvCxnSpPr>
            <a:cxnSpLocks/>
          </p:cNvCxnSpPr>
          <p:nvPr/>
        </p:nvCxnSpPr>
        <p:spPr>
          <a:xfrm>
            <a:off x="4165600" y="4559893"/>
            <a:ext cx="76708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60877A8-EA7A-A435-D297-4A0E5AC7140E}"/>
              </a:ext>
            </a:extLst>
          </p:cNvPr>
          <p:cNvCxnSpPr>
            <a:cxnSpLocks/>
          </p:cNvCxnSpPr>
          <p:nvPr/>
        </p:nvCxnSpPr>
        <p:spPr>
          <a:xfrm>
            <a:off x="4165600" y="5499003"/>
            <a:ext cx="76708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8EEDBBA7-6FD6-405D-B71A-C7ADB34D7585}"/>
              </a:ext>
            </a:extLst>
          </p:cNvPr>
          <p:cNvSpPr>
            <a:spLocks/>
          </p:cNvSpPr>
          <p:nvPr/>
        </p:nvSpPr>
        <p:spPr bwMode="auto">
          <a:xfrm>
            <a:off x="982662" y="3705575"/>
            <a:ext cx="3011888" cy="79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000" tIns="182880" rIns="216000" bIns="182880" numCol="1" rtlCol="0" anchor="ctr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	Robust data governance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AC87FC5D-6D8F-4500-B214-F987BB56EE5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21652" y="3813575"/>
            <a:ext cx="576000" cy="576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1DB000CE-A22D-49E4-8266-2372FF7A8D7F}"/>
              </a:ext>
            </a:extLst>
          </p:cNvPr>
          <p:cNvSpPr>
            <a:spLocks/>
          </p:cNvSpPr>
          <p:nvPr/>
        </p:nvSpPr>
        <p:spPr bwMode="auto">
          <a:xfrm>
            <a:off x="982663" y="1856613"/>
            <a:ext cx="3011886" cy="79200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000" tIns="182880" rIns="216000" bIns="182880" numCol="1" rtlCol="0" anchor="ctr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	Positive participant and provider experiences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C9B44C17-32E0-4E74-89FA-C3866151D82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103652" y="1964613"/>
            <a:ext cx="576001" cy="576000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6039885-B9C2-498B-B532-5A4B03EDBB3E}"/>
              </a:ext>
            </a:extLst>
          </p:cNvPr>
          <p:cNvSpPr>
            <a:spLocks/>
          </p:cNvSpPr>
          <p:nvPr/>
        </p:nvSpPr>
        <p:spPr bwMode="auto">
          <a:xfrm>
            <a:off x="982662" y="2781094"/>
            <a:ext cx="3011887" cy="792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000" tIns="182880" rIns="216000" bIns="182880" numCol="1" rtlCol="0" anchor="ctr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	Digital leadership and agility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CE979256-2DA3-4D6C-A4BE-0EF5C6E7D23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1121652" y="2889094"/>
            <a:ext cx="576000" cy="576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6838F539-0757-475F-972C-A383F19FEBB2}"/>
              </a:ext>
            </a:extLst>
          </p:cNvPr>
          <p:cNvSpPr>
            <a:spLocks/>
          </p:cNvSpPr>
          <p:nvPr/>
        </p:nvSpPr>
        <p:spPr bwMode="auto">
          <a:xfrm>
            <a:off x="982662" y="4630056"/>
            <a:ext cx="3011888" cy="79200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000" tIns="182880" rIns="144000" bIns="182880" numCol="1" rtlCol="0" anchor="ctr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.	Insight and intelligence capability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0F7F6502-0858-46F6-B7A9-5447EA036BFA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1157806" y="4756056"/>
            <a:ext cx="503693" cy="54000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68ECA6BB-1147-4180-9AF4-8B732C3793A3}"/>
              </a:ext>
            </a:extLst>
          </p:cNvPr>
          <p:cNvSpPr>
            <a:spLocks/>
          </p:cNvSpPr>
          <p:nvPr/>
        </p:nvSpPr>
        <p:spPr bwMode="auto">
          <a:xfrm>
            <a:off x="982659" y="5554535"/>
            <a:ext cx="3011889" cy="792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28000" tIns="182880" rIns="216000" bIns="182880" numCol="1" rtlCol="0" anchor="ctr" anchorCtr="0" compatLnSpc="1">
            <a:prstTxWarp prst="textNoShape">
              <a:avLst/>
            </a:prstTxWarp>
          </a:bodyPr>
          <a:lstStyle/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	Empowered Commission staff</a:t>
            </a:r>
          </a:p>
        </p:txBody>
      </p:sp>
      <p:pic>
        <p:nvPicPr>
          <p:cNvPr id="48" name="Picture 47" descr="Shape&#10;&#10;Description automatically generated with low confidence">
            <a:extLst>
              <a:ext uri="{FF2B5EF4-FFF2-40B4-BE49-F238E27FC236}">
                <a16:creationId xmlns:a16="http://schemas.microsoft.com/office/drawing/2014/main" id="{548420DF-732C-4C60-9DBD-56AAFAA26994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hq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3652" y="5702827"/>
            <a:ext cx="612000" cy="49451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3B786DE-CACE-4458-B976-0D6508C10830}"/>
              </a:ext>
            </a:extLst>
          </p:cNvPr>
          <p:cNvSpPr txBox="1"/>
          <p:nvPr/>
        </p:nvSpPr>
        <p:spPr>
          <a:xfrm>
            <a:off x="1963518" y="1464820"/>
            <a:ext cx="679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la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E0823AB-DE2B-4010-AC41-88E20F8536A2}"/>
              </a:ext>
            </a:extLst>
          </p:cNvPr>
          <p:cNvSpPr txBox="1"/>
          <p:nvPr/>
        </p:nvSpPr>
        <p:spPr>
          <a:xfrm>
            <a:off x="7527951" y="1464820"/>
            <a:ext cx="9664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BE40D8-B292-6F6A-AD8E-30BE2D975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14A48D20-BA05-C010-D433-A80E86A3704E}"/>
              </a:ext>
            </a:extLst>
          </p:cNvPr>
          <p:cNvGrpSpPr/>
          <p:nvPr/>
        </p:nvGrpSpPr>
        <p:grpSpPr>
          <a:xfrm>
            <a:off x="201744" y="1474569"/>
            <a:ext cx="539669" cy="509062"/>
            <a:chOff x="9268928" y="1999013"/>
            <a:chExt cx="539669" cy="509062"/>
          </a:xfrm>
        </p:grpSpPr>
        <p:sp>
          <p:nvSpPr>
            <p:cNvPr id="72" name="Pentagon 20">
              <a:extLst>
                <a:ext uri="{FF2B5EF4-FFF2-40B4-BE49-F238E27FC236}">
                  <a16:creationId xmlns:a16="http://schemas.microsoft.com/office/drawing/2014/main" id="{18474F75-5A73-4E5B-70C1-7AF26D19EA3A}"/>
                </a:ext>
              </a:extLst>
            </p:cNvPr>
            <p:cNvSpPr>
              <a:spLocks/>
            </p:cNvSpPr>
            <p:nvPr/>
          </p:nvSpPr>
          <p:spPr>
            <a:xfrm>
              <a:off x="9268928" y="2448277"/>
              <a:ext cx="182730" cy="59798"/>
            </a:xfrm>
            <a:prstGeom prst="homePlate">
              <a:avLst>
                <a:gd name="adj" fmla="val 25000"/>
              </a:avLst>
            </a:prstGeom>
            <a:solidFill>
              <a:schemeClr val="accent6"/>
            </a:solidFill>
            <a:ln w="31750" cap="flat" cmpd="sng" algn="ctr">
              <a:solidFill>
                <a:schemeClr val="bg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Chevron 21">
              <a:extLst>
                <a:ext uri="{FF2B5EF4-FFF2-40B4-BE49-F238E27FC236}">
                  <a16:creationId xmlns:a16="http://schemas.microsoft.com/office/drawing/2014/main" id="{133A8C62-3FC6-FE2D-6854-E7D5FE182127}"/>
                </a:ext>
              </a:extLst>
            </p:cNvPr>
            <p:cNvSpPr>
              <a:spLocks/>
            </p:cNvSpPr>
            <p:nvPr/>
          </p:nvSpPr>
          <p:spPr>
            <a:xfrm>
              <a:off x="9451658" y="2448277"/>
              <a:ext cx="182730" cy="59798"/>
            </a:xfrm>
            <a:prstGeom prst="chevron">
              <a:avLst>
                <a:gd name="adj" fmla="val 25000"/>
              </a:avLst>
            </a:prstGeom>
            <a:solidFill>
              <a:schemeClr val="accent6"/>
            </a:solidFill>
            <a:ln w="31750" cap="flat" cmpd="sng" algn="ctr">
              <a:solidFill>
                <a:schemeClr val="bg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Chevron 21">
              <a:extLst>
                <a:ext uri="{FF2B5EF4-FFF2-40B4-BE49-F238E27FC236}">
                  <a16:creationId xmlns:a16="http://schemas.microsoft.com/office/drawing/2014/main" id="{AB82810C-2960-9F36-875D-2E980F0F5C12}"/>
                </a:ext>
              </a:extLst>
            </p:cNvPr>
            <p:cNvSpPr>
              <a:spLocks/>
            </p:cNvSpPr>
            <p:nvPr/>
          </p:nvSpPr>
          <p:spPr>
            <a:xfrm>
              <a:off x="9625867" y="2448277"/>
              <a:ext cx="182730" cy="59798"/>
            </a:xfrm>
            <a:prstGeom prst="chevron">
              <a:avLst>
                <a:gd name="adj" fmla="val 25000"/>
              </a:avLst>
            </a:prstGeom>
            <a:solidFill>
              <a:schemeClr val="accent6"/>
            </a:solidFill>
            <a:ln w="31750" cap="flat" cmpd="sng" algn="ctr">
              <a:solidFill>
                <a:schemeClr val="bg2">
                  <a:lumMod val="10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10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Isosceles Triangle 74">
              <a:extLst>
                <a:ext uri="{FF2B5EF4-FFF2-40B4-BE49-F238E27FC236}">
                  <a16:creationId xmlns:a16="http://schemas.microsoft.com/office/drawing/2014/main" id="{12E358A8-FB63-FD67-50DB-C5BB6CAA1988}"/>
                </a:ext>
              </a:extLst>
            </p:cNvPr>
            <p:cNvSpPr/>
            <p:nvPr/>
          </p:nvSpPr>
          <p:spPr>
            <a:xfrm>
              <a:off x="9366384" y="1999013"/>
              <a:ext cx="353276" cy="178286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97DA4F47-15E4-A3EA-6208-D1B22D87F65D}"/>
                </a:ext>
              </a:extLst>
            </p:cNvPr>
            <p:cNvSpPr/>
            <p:nvPr/>
          </p:nvSpPr>
          <p:spPr>
            <a:xfrm>
              <a:off x="9366384" y="2195566"/>
              <a:ext cx="353276" cy="1335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8000" tIns="72000" rIns="48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AAA58DFF-D514-813A-D6E3-93667816A225}"/>
                </a:ext>
              </a:extLst>
            </p:cNvPr>
            <p:cNvSpPr/>
            <p:nvPr/>
          </p:nvSpPr>
          <p:spPr>
            <a:xfrm>
              <a:off x="9369462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549BCA4C-D452-FEFA-329E-0984F8486FB0}"/>
                </a:ext>
              </a:extLst>
            </p:cNvPr>
            <p:cNvSpPr/>
            <p:nvPr/>
          </p:nvSpPr>
          <p:spPr>
            <a:xfrm>
              <a:off x="9438505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23FB7C15-794C-D4B4-ADB2-BC2615B8E036}"/>
                </a:ext>
              </a:extLst>
            </p:cNvPr>
            <p:cNvSpPr/>
            <p:nvPr/>
          </p:nvSpPr>
          <p:spPr>
            <a:xfrm>
              <a:off x="9507548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68C1D99F-6FD8-F2CD-F968-AF78F2CF27B9}"/>
                </a:ext>
              </a:extLst>
            </p:cNvPr>
            <p:cNvSpPr/>
            <p:nvPr/>
          </p:nvSpPr>
          <p:spPr>
            <a:xfrm>
              <a:off x="9576591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668703C-D2CF-82D9-D9D3-CE2AAF26CB0B}"/>
                </a:ext>
              </a:extLst>
            </p:cNvPr>
            <p:cNvSpPr/>
            <p:nvPr/>
          </p:nvSpPr>
          <p:spPr>
            <a:xfrm>
              <a:off x="9366384" y="2343411"/>
              <a:ext cx="353276" cy="763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48000" tIns="72000" rIns="48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AC021B8-9A83-9D4D-F147-B47380477B8B}"/>
                </a:ext>
              </a:extLst>
            </p:cNvPr>
            <p:cNvSpPr/>
            <p:nvPr/>
          </p:nvSpPr>
          <p:spPr>
            <a:xfrm>
              <a:off x="9372477" y="2374861"/>
              <a:ext cx="166631" cy="299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bIns="3600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4715189C-4EE2-0EFB-309E-41757E75DF9A}"/>
                </a:ext>
              </a:extLst>
            </p:cNvPr>
            <p:cNvSpPr/>
            <p:nvPr/>
          </p:nvSpPr>
          <p:spPr>
            <a:xfrm>
              <a:off x="9645634" y="2220605"/>
              <a:ext cx="64502" cy="8766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0EBD1096-9B38-FA57-E496-ADB536AF1404}"/>
                </a:ext>
              </a:extLst>
            </p:cNvPr>
            <p:cNvCxnSpPr>
              <a:cxnSpLocks/>
            </p:cNvCxnSpPr>
            <p:nvPr/>
          </p:nvCxnSpPr>
          <p:spPr>
            <a:xfrm>
              <a:off x="9433964" y="2092918"/>
              <a:ext cx="224801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D1F3359B-5D3C-989B-A6BB-8698E813051B}"/>
                </a:ext>
              </a:extLst>
            </p:cNvPr>
            <p:cNvCxnSpPr>
              <a:cxnSpLocks/>
            </p:cNvCxnSpPr>
            <p:nvPr/>
          </p:nvCxnSpPr>
          <p:spPr>
            <a:xfrm>
              <a:off x="9486723" y="2092918"/>
              <a:ext cx="0" cy="8838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E60B45BF-9734-52E0-D5BA-EEFD52F34537}"/>
                </a:ext>
              </a:extLst>
            </p:cNvPr>
            <p:cNvCxnSpPr>
              <a:cxnSpLocks/>
            </p:cNvCxnSpPr>
            <p:nvPr/>
          </p:nvCxnSpPr>
          <p:spPr>
            <a:xfrm>
              <a:off x="9548358" y="2092918"/>
              <a:ext cx="0" cy="8838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3F5B4BC3-1E7A-894E-BCD0-9BEA3EE9AB43}"/>
                </a:ext>
              </a:extLst>
            </p:cNvPr>
            <p:cNvCxnSpPr>
              <a:cxnSpLocks/>
            </p:cNvCxnSpPr>
            <p:nvPr/>
          </p:nvCxnSpPr>
          <p:spPr>
            <a:xfrm>
              <a:off x="9613114" y="2092918"/>
              <a:ext cx="0" cy="88386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FDBDAE0B-0502-7943-810C-DA189ACAC6ED}"/>
                </a:ext>
              </a:extLst>
            </p:cNvPr>
            <p:cNvSpPr/>
            <p:nvPr/>
          </p:nvSpPr>
          <p:spPr>
            <a:xfrm>
              <a:off x="9548025" y="2374861"/>
              <a:ext cx="166631" cy="299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rIns="144000" bIns="3600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id="{C1B9FDDE-2563-2BE5-876E-59659AC94E9C}"/>
              </a:ext>
            </a:extLst>
          </p:cNvPr>
          <p:cNvSpPr/>
          <p:nvPr/>
        </p:nvSpPr>
        <p:spPr>
          <a:xfrm>
            <a:off x="208508" y="1655544"/>
            <a:ext cx="532906" cy="239765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5079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A8A5383-11A8-0A91-8B11-0FE91E6FA9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A8A5383-11A8-0A91-8B11-0FE91E6FA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4E370DA-34A2-F37C-3980-0058578927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-1"/>
            <a:ext cx="7812087" cy="1376364"/>
          </a:xfrm>
        </p:spPr>
        <p:txBody>
          <a:bodyPr vert="horz">
            <a:normAutofit/>
          </a:bodyPr>
          <a:lstStyle/>
          <a:p>
            <a:r>
              <a:rPr lang="en-GB" dirty="0"/>
              <a:t>The Commission </a:t>
            </a:r>
            <a:r>
              <a:rPr lang="en-GB" dirty="0" smtClean="0"/>
              <a:t>faces </a:t>
            </a:r>
            <a:r>
              <a:rPr lang="en-GB" dirty="0"/>
              <a:t>significant gaps in its current data and digital capability </a:t>
            </a: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AE176FB8-D477-5EBB-E178-9B53B81CB5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2" y="1746000"/>
            <a:ext cx="4913311" cy="479035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</p:spPr>
        <p:txBody>
          <a:bodyPr vert="horz" wrap="square" lIns="144000" tIns="540000" rIns="14400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270000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270000" algn="l"/>
              </a:tabLst>
              <a:defRPr sz="1400" kern="0"/>
            </a:lvl1pPr>
            <a:lvl2pPr marL="540000" lvl="1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Calibri" panose="020F0502020204030204" pitchFamily="34" charset="0"/>
              <a:buChar char="‒"/>
              <a:tabLst>
                <a:tab pos="270000" algn="l"/>
              </a:tabLst>
              <a:defRPr sz="1400" kern="0"/>
            </a:lvl2pPr>
            <a:lvl3pPr marL="810000" lvl="2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>
                <a:tab pos="270000" algn="l"/>
              </a:tabLst>
              <a:defRPr sz="1400" kern="0"/>
            </a:lvl3pPr>
            <a:lvl4pPr marL="1080000" lvl="3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>
                <a:tab pos="270000" algn="l"/>
              </a:tabLst>
              <a:defRPr sz="1400" kern="0"/>
            </a:lvl4pPr>
            <a:lvl5pPr marL="810000" indent="0" defTabSz="89535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18345E"/>
              </a:buClr>
              <a:buFont typeface="Wingdings" panose="05000000000000000000" pitchFamily="2" charset="2"/>
              <a:buNone/>
              <a:defRPr sz="1400" baseline="0"/>
            </a:lvl5pPr>
            <a:lvl6pPr marL="2152650" indent="-361950" fontAlgn="base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­"/>
              <a:defRPr sz="14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9pPr>
          </a:lstStyle>
          <a:p>
            <a:pPr marL="342900" marR="0" lvl="0" indent="-3429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+mj-lt"/>
              <a:buAutoNum type="arabicPeriod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mited ability to manage workflow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vities and track progress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key components of the Commission’s work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+mj-lt"/>
              <a:buAutoNum type="arabicPeriod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tensive off-system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ivity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ross the main operational functions with various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around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d to complete operational tasks</a:t>
            </a:r>
          </a:p>
          <a:p>
            <a:pPr marL="342900" marR="0" lvl="0" indent="-3429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+mj-lt"/>
              <a:buAutoNum type="arabicPeriod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ttle ability to identify and manage risks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i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vidual cases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across a system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+mj-lt"/>
              <a:buAutoNum type="arabicPeriod"/>
              <a:tabLst>
                <a:tab pos="270000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urrent systems reinforc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unctional silo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do not support effective operations and information sharing</a:t>
            </a:r>
          </a:p>
          <a:p>
            <a:pPr marL="342900" marR="0" lvl="0" indent="-3429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+mj-lt"/>
              <a:buAutoNum type="arabicPeriod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 of automatio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simple activities leading to lost time and repetition of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es</a:t>
            </a:r>
          </a:p>
          <a:p>
            <a:pPr marL="342900" marR="0" lvl="0" indent="-3429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+mj-lt"/>
              <a:buAutoNum type="arabicPeriod"/>
              <a:tabLst>
                <a:tab pos="270000" algn="l"/>
              </a:tabLst>
              <a:defRPr/>
            </a:pPr>
            <a:r>
              <a:rPr lang="en-US" b="1" dirty="0" smtClean="0">
                <a:solidFill>
                  <a:prstClr val="black"/>
                </a:solidFill>
                <a:latin typeface="Calibri" panose="020F0502020204030204"/>
              </a:rPr>
              <a:t>Lack of ability to reuse</a:t>
            </a:r>
            <a:r>
              <a:rPr lang="en-US" dirty="0" smtClean="0">
                <a:solidFill>
                  <a:prstClr val="black"/>
                </a:solidFill>
                <a:latin typeface="Calibri" panose="020F0502020204030204"/>
              </a:rPr>
              <a:t> previously entered data, leading to a higher than necessary regulatory burden on provider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F6146800-5ECC-7224-C179-B3DE253CCE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511" y="1746000"/>
            <a:ext cx="4913311" cy="4790349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</p:spPr>
        <p:txBody>
          <a:bodyPr vert="horz" wrap="square" lIns="144000" tIns="540000" rIns="144000" bIns="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270000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270000" algn="l"/>
              </a:tabLst>
              <a:defRPr sz="1400" kern="0"/>
            </a:lvl1pPr>
            <a:lvl2pPr marL="540000" lvl="1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Calibri" panose="020F0502020204030204" pitchFamily="34" charset="0"/>
              <a:buChar char="‒"/>
              <a:tabLst>
                <a:tab pos="270000" algn="l"/>
              </a:tabLst>
              <a:defRPr sz="1400" kern="0"/>
            </a:lvl2pPr>
            <a:lvl3pPr marL="810000" lvl="2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tabLst>
                <a:tab pos="270000" algn="l"/>
              </a:tabLst>
              <a:defRPr sz="1400" kern="0"/>
            </a:lvl3pPr>
            <a:lvl4pPr marL="1080000" lvl="3" indent="-270000" defTabSz="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>
                <a:tab pos="270000" algn="l"/>
              </a:tabLst>
              <a:defRPr sz="1400" kern="0"/>
            </a:lvl4pPr>
            <a:lvl5pPr marL="810000" indent="0" defTabSz="89535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18345E"/>
              </a:buClr>
              <a:buFont typeface="Wingdings" panose="05000000000000000000" pitchFamily="2" charset="2"/>
              <a:buNone/>
              <a:defRPr sz="1400" baseline="0"/>
            </a:lvl5pPr>
            <a:lvl6pPr marL="2152650" indent="-361950" fontAlgn="base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­"/>
              <a:defRPr sz="14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1400"/>
            </a:lvl9pPr>
          </a:lstStyle>
          <a:p>
            <a:pPr marL="270000" marR="0" lvl="0" indent="-2700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ater accessibility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participants</a:t>
            </a:r>
          </a:p>
          <a:p>
            <a:pPr marL="270000" marR="0" lvl="0" indent="-2700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ifying interaction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providers and using technology to reduce the administrative burden</a:t>
            </a:r>
          </a:p>
          <a:p>
            <a:pPr marL="270000" marR="0" lvl="0" indent="-2700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ting productivity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reeing up capacity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process automation</a:t>
            </a:r>
          </a:p>
          <a:p>
            <a:pPr marL="270000" marR="0" lvl="0" indent="-2700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 analysi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ing proactive interventions</a:t>
            </a:r>
          </a:p>
          <a:p>
            <a:pPr marL="270000" marR="0" lvl="0" indent="-2700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come a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rn world-class regulator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effective consultation and communications and being transparent and accountable</a:t>
            </a:r>
          </a:p>
          <a:p>
            <a:pPr marL="270000" marR="0" lvl="0" indent="-270000" algn="l" defTabSz="2700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>
                <a:tab pos="270000" algn="l"/>
              </a:tabLst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ctive information sharing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other agencies, states and territori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C362D57-E1A8-9681-EBDD-454CAAF58C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4" y="1746000"/>
            <a:ext cx="4913312" cy="391628"/>
          </a:xfrm>
          <a:prstGeom prst="rect">
            <a:avLst/>
          </a:prstGeom>
          <a:solidFill>
            <a:schemeClr val="tx2"/>
          </a:solidFill>
          <a:ln w="6350">
            <a:noFill/>
            <a:miter lim="800000"/>
            <a:headEnd/>
            <a:tailEnd/>
          </a:ln>
        </p:spPr>
        <p:txBody>
          <a:bodyPr vert="horz" wrap="square" lIns="144000" tIns="72000" rIns="144000" bIns="72000" numCol="1" anchor="t" anchorCtr="0" compatLnSpc="1">
            <a:prstTxWarp prst="textNoShape">
              <a:avLst/>
            </a:prstTxWarp>
            <a:spAutoFit/>
          </a:bodyPr>
          <a:lstStyle>
            <a:lvl1pPr marL="270000" indent="-270000" algn="l" rtl="0" eaLnBrk="1" fontAlgn="base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70000" algn="l" rtl="0" eaLnBrk="1" fontAlgn="base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Calibri" panose="020F0502020204030204" pitchFamily="34" charset="0"/>
              <a:buChar char="‒"/>
              <a:defRPr sz="1400">
                <a:solidFill>
                  <a:schemeClr val="tx1"/>
                </a:solidFill>
                <a:latin typeface="+mn-lt"/>
              </a:defRPr>
            </a:lvl2pPr>
            <a:lvl3pPr marL="810000" indent="-270000" algn="l" rtl="0" eaLnBrk="1" fontAlgn="base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defRPr sz="1400">
                <a:solidFill>
                  <a:schemeClr val="tx1"/>
                </a:solidFill>
                <a:latin typeface="+mn-lt"/>
              </a:defRPr>
            </a:lvl3pPr>
            <a:lvl4pPr marL="1080000" indent="-270000" algn="l" rtl="0" eaLnBrk="1" fontAlgn="base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810000" indent="0" algn="l" defTabSz="895350" rtl="0" eaLnBrk="1" fontAlgn="base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18345E"/>
              </a:buClr>
              <a:buFont typeface="Wingdings" panose="05000000000000000000" pitchFamily="2" charset="2"/>
              <a:buNone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2152650" indent="-361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­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Gap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2FEBF1-91AF-D4F7-6E44-E8934AED6A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0514" y="1746000"/>
            <a:ext cx="4918823" cy="391628"/>
          </a:xfrm>
          <a:prstGeom prst="rect">
            <a:avLst/>
          </a:prstGeom>
          <a:solidFill>
            <a:schemeClr val="accent4"/>
          </a:solidFill>
          <a:ln w="6350">
            <a:noFill/>
            <a:miter lim="800000"/>
            <a:headEnd/>
            <a:tailEnd/>
          </a:ln>
        </p:spPr>
        <p:txBody>
          <a:bodyPr vert="horz" wrap="square" lIns="144000" tIns="72000" rIns="144000" bIns="7200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indent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b="1" kern="0">
                <a:solidFill>
                  <a:schemeClr val="bg1"/>
                </a:solidFill>
              </a:defRPr>
            </a:lvl1pPr>
            <a:lvl2pPr marL="540000" indent="-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Calibri" panose="020F0502020204030204" pitchFamily="34" charset="0"/>
              <a:buChar char="‒"/>
              <a:defRPr sz="1400"/>
            </a:lvl2pPr>
            <a:lvl3pPr marL="810000" indent="-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Courier New" panose="02070309020205020404" pitchFamily="49" charset="0"/>
              <a:buChar char="o"/>
              <a:defRPr sz="1400"/>
            </a:lvl3pPr>
            <a:lvl4pPr marL="1080000" indent="-27000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400"/>
            </a:lvl4pPr>
            <a:lvl5pPr marL="810000" indent="0" defTabSz="895350" fontAlgn="base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>
                <a:srgbClr val="18345E"/>
              </a:buClr>
              <a:buFont typeface="Wingdings" panose="05000000000000000000" pitchFamily="2" charset="2"/>
              <a:buNone/>
              <a:defRPr sz="1400" baseline="0"/>
            </a:lvl5pPr>
            <a:lvl6pPr marL="2152650" indent="-361950" fontAlgn="base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­"/>
              <a:defRPr sz="16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ortunit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EB9C59-4B1D-6E41-DA30-30D40F84E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55C17-AF72-40D4-ADBD-B5505DEBF9BA}" type="slidenum">
              <a:rPr kumimoji="0" lang="en-A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1547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265B1B-791F-6134-A67C-08BFA0DA3B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265B1B-791F-6134-A67C-08BFA0DA3B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513B98-2CDB-EDE9-8AAA-618BFB665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Improving data and digital capability improves the experience for all stakeholders</a:t>
            </a:r>
            <a:endParaRPr lang="en-AU" dirty="0"/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1A471209-2786-EF34-0481-492A6D8CA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B3C09A-34DB-40FC-986F-778116BE1D2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2151800-0A6C-48CA-E833-C923ECB6CC3A}"/>
              </a:ext>
            </a:extLst>
          </p:cNvPr>
          <p:cNvSpPr/>
          <p:nvPr/>
        </p:nvSpPr>
        <p:spPr>
          <a:xfrm>
            <a:off x="982662" y="2013552"/>
            <a:ext cx="5040000" cy="199929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720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nt</a:t>
            </a:r>
            <a:endParaRPr kumimoji="0" lang="pt-BR" sz="1800" b="1" i="0" u="none" strike="noStrike" kern="1200" cap="none" spc="0" normalizeH="0" baseline="0" noProof="0">
              <a:ln>
                <a:noFill/>
              </a:ln>
              <a:solidFill>
                <a:srgbClr val="5F2E7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C2CF21-51E6-F446-890D-E64F4D72B177}"/>
              </a:ext>
            </a:extLst>
          </p:cNvPr>
          <p:cNvSpPr/>
          <p:nvPr/>
        </p:nvSpPr>
        <p:spPr>
          <a:xfrm>
            <a:off x="6152970" y="2013552"/>
            <a:ext cx="5040000" cy="199929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720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24F4373-D399-0209-985B-46629C2CB089}"/>
              </a:ext>
            </a:extLst>
          </p:cNvPr>
          <p:cNvSpPr/>
          <p:nvPr/>
        </p:nvSpPr>
        <p:spPr>
          <a:xfrm>
            <a:off x="970599" y="4199534"/>
            <a:ext cx="5040000" cy="199929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720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 work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8CC50B-1908-32C1-0D66-EB205733ADE6}"/>
              </a:ext>
            </a:extLst>
          </p:cNvPr>
          <p:cNvSpPr/>
          <p:nvPr/>
        </p:nvSpPr>
        <p:spPr>
          <a:xfrm>
            <a:off x="6140907" y="4199534"/>
            <a:ext cx="5040000" cy="1999297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 anchorCtr="0"/>
          <a:lstStyle/>
          <a:p>
            <a:pPr marL="7207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>
                <a:ln>
                  <a:noFill/>
                </a:ln>
                <a:solidFill>
                  <a:srgbClr val="5F2E7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ff memb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015B05-6EC3-2482-5AB2-64AB3FBA8C4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55388" y="2079911"/>
            <a:ext cx="540000" cy="540000"/>
          </a:xfrm>
          <a:custGeom>
            <a:avLst/>
            <a:gdLst>
              <a:gd name="connsiteX0" fmla="*/ 1944914 w 3889828"/>
              <a:gd name="connsiteY0" fmla="*/ 0 h 3889828"/>
              <a:gd name="connsiteX1" fmla="*/ 3889828 w 3889828"/>
              <a:gd name="connsiteY1" fmla="*/ 1944914 h 3889828"/>
              <a:gd name="connsiteX2" fmla="*/ 1944914 w 3889828"/>
              <a:gd name="connsiteY2" fmla="*/ 3889828 h 3889828"/>
              <a:gd name="connsiteX3" fmla="*/ 0 w 3889828"/>
              <a:gd name="connsiteY3" fmla="*/ 1944914 h 3889828"/>
              <a:gd name="connsiteX4" fmla="*/ 1944914 w 3889828"/>
              <a:gd name="connsiteY4" fmla="*/ 0 h 3889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9828" h="3889828">
                <a:moveTo>
                  <a:pt x="1944914" y="0"/>
                </a:moveTo>
                <a:cubicBezTo>
                  <a:pt x="3019060" y="0"/>
                  <a:pt x="3889828" y="870768"/>
                  <a:pt x="3889828" y="1944914"/>
                </a:cubicBezTo>
                <a:cubicBezTo>
                  <a:pt x="3889828" y="3019060"/>
                  <a:pt x="3019060" y="3889828"/>
                  <a:pt x="1944914" y="3889828"/>
                </a:cubicBezTo>
                <a:cubicBezTo>
                  <a:pt x="870768" y="3889828"/>
                  <a:pt x="0" y="3019060"/>
                  <a:pt x="0" y="1944914"/>
                </a:cubicBezTo>
                <a:cubicBezTo>
                  <a:pt x="0" y="870768"/>
                  <a:pt x="870768" y="0"/>
                  <a:pt x="1944914" y="0"/>
                </a:cubicBez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7227375-A179-2420-5A8E-FC6AA0C65CE6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0044" y="2106186"/>
            <a:ext cx="540000" cy="540000"/>
          </a:xfrm>
          <a:prstGeom prst="ellipse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99AF271-118B-E38E-3D32-D5FC3CE845F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22"/>
          <a:stretch/>
        </p:blipFill>
        <p:spPr>
          <a:xfrm>
            <a:off x="1055388" y="4285234"/>
            <a:ext cx="540000" cy="540000"/>
          </a:xfrm>
          <a:prstGeom prst="ellipse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34238EC-6B75-59D9-AF17-094AEE1D519E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0044" y="4285234"/>
            <a:ext cx="540000" cy="540000"/>
          </a:xfrm>
          <a:prstGeom prst="ellipse">
            <a:avLst/>
          </a:prstGeom>
        </p:spPr>
      </p:pic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56F34BB-195F-5C17-518A-23A3AB1F196E}"/>
              </a:ext>
            </a:extLst>
          </p:cNvPr>
          <p:cNvSpPr txBox="1">
            <a:spLocks/>
          </p:cNvSpPr>
          <p:nvPr/>
        </p:nvSpPr>
        <p:spPr>
          <a:xfrm>
            <a:off x="11221401" y="6508750"/>
            <a:ext cx="36227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A61E98-58DA-93CE-B9BE-2C085B5EFFF6}"/>
              </a:ext>
            </a:extLst>
          </p:cNvPr>
          <p:cNvSpPr txBox="1"/>
          <p:nvPr/>
        </p:nvSpPr>
        <p:spPr>
          <a:xfrm>
            <a:off x="1760033" y="2483502"/>
            <a:ext cx="4038339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7800" lvl="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experience of participants through more accessible channels of communication and improved interactions </a:t>
            </a: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7800" lvl="0" indent="-1778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ifi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es and improved service delivery through more proactive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ac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67BFC23-5D5C-3E08-43CB-274571CEA666}"/>
              </a:ext>
            </a:extLst>
          </p:cNvPr>
          <p:cNvSpPr txBox="1"/>
          <p:nvPr/>
        </p:nvSpPr>
        <p:spPr>
          <a:xfrm>
            <a:off x="6900352" y="2483502"/>
            <a:ext cx="4034119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</a:lstStyle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plified and clear processes when dealing with the Commission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ing education and information (e.g.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on </a:t>
            </a:r>
            <a:r>
              <a:rPr kumimoji="0" lang="en-GB" sz="1200" b="0" i="0" u="non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provider has</a:t>
            </a:r>
            <a:r>
              <a:rPr kumimoji="0" lang="en-GB" sz="1200" b="0" i="0" u="non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lready</a:t>
            </a:r>
            <a:r>
              <a:rPr lang="en-GB" dirty="0">
                <a:latin typeface="Calibri" panose="020F0502020204030204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when they need it 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le to spend more time with participants and less time on administrative process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9BC8BA-54FB-1DB5-D001-0DBCF046467D}"/>
              </a:ext>
            </a:extLst>
          </p:cNvPr>
          <p:cNvSpPr txBox="1"/>
          <p:nvPr/>
        </p:nvSpPr>
        <p:spPr>
          <a:xfrm>
            <a:off x="6847118" y="4719530"/>
            <a:ext cx="422188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</a:lstStyle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le to access information from other agencies (e.g. ASIC checks) to make informed decisions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le to </a:t>
            </a:r>
            <a:r>
              <a: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iable information gathered across functions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er satisfaction and productivity of staff, freeing up capacity and ability to handle increasing workload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F81C7AE-D8FF-3ACB-2E98-EAB5D20185C2}"/>
              </a:ext>
            </a:extLst>
          </p:cNvPr>
          <p:cNvSpPr txBox="1"/>
          <p:nvPr/>
        </p:nvSpPr>
        <p:spPr>
          <a:xfrm>
            <a:off x="1764253" y="4719530"/>
            <a:ext cx="4034119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lvl1pPr>
          </a:lstStyle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h accessible and relevant information 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ility to maintain support worker status if they move provider or move interstate</a:t>
            </a:r>
          </a:p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le to spend more of their time providing services and support to participan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AC991F7-4D29-17F1-AC0F-E26060F9DD75}"/>
              </a:ext>
            </a:extLst>
          </p:cNvPr>
          <p:cNvSpPr txBox="1"/>
          <p:nvPr/>
        </p:nvSpPr>
        <p:spPr>
          <a:xfrm>
            <a:off x="970599" y="1563048"/>
            <a:ext cx="102103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uture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 A </a:t>
            </a:r>
            <a:r>
              <a:rPr kumimoji="0" lang="en-GB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ata and digital-driven </a:t>
            </a: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Commission 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nabling informed decision making and improved participant experien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041CFA-D3E8-4628-9048-76B70A6EF63C}"/>
              </a:ext>
            </a:extLst>
          </p:cNvPr>
          <p:cNvSpPr txBox="1"/>
          <p:nvPr/>
        </p:nvSpPr>
        <p:spPr>
          <a:xfrm>
            <a:off x="982663" y="6329997"/>
            <a:ext cx="226376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DIS Commission Corporate Plan 2022-27</a:t>
            </a:r>
          </a:p>
        </p:txBody>
      </p:sp>
    </p:spTree>
    <p:extLst>
      <p:ext uri="{BB962C8B-B14F-4D97-AF65-F5344CB8AC3E}">
        <p14:creationId xmlns:p14="http://schemas.microsoft.com/office/powerpoint/2010/main" val="9595941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e45c897-0864-458e-820b-738f9a8a6c8f"/>
  <p:tag name="MIO_EKGUID" val="5a764f05-9445-4050-b190-296707845383"/>
  <p:tag name="MIO_UPDATE" val="True"/>
  <p:tag name="MIO_VERSION" val="06.05.2022 09:58:54"/>
  <p:tag name="MIO_DBID" val="0F45B44C-9BC7-4D85-81C4-7155EE70A7B9"/>
  <p:tag name="MIO_LASTDOWNLOADED" val="25.10.2022 11:24:13.159"/>
  <p:tag name="MIO_OBJECTNAME" val="Note Light blue"/>
  <p:tag name="MIO_LASTEDITORNAME" val="Kelly Rya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f2f11a9-6678-46e0-b04b-1d389d2a319c"/>
  <p:tag name="MIO_EKGUID" val="e5bc8749-2d3e-4bd1-81ef-0b353f03b79a"/>
  <p:tag name="MIO_UPDATE" val="True"/>
  <p:tag name="MIO_VERSION" val="19.08.2021 12:21:21"/>
  <p:tag name="MIO_DBID" val="0F45B44C-9BC7-4D85-81C4-7155EE70A7B9"/>
  <p:tag name="MIO_LASTDOWNLOADED" val="19.10.2022 15:33:11.592"/>
  <p:tag name="MIO_OBJECTNAME" val="1. Plain - bulletpoints"/>
  <p:tag name="MIO_LASTEDITORNAME" val="Sarah Lyo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ff9b701-df86-4bde-9cdc-5b0cb4bc644a"/>
  <p:tag name="MIO_GUID" val="fed9c4f0-722a-4140-aa29-8a179d6fe6c9"/>
  <p:tag name="MIO_UPDATE" val="True"/>
  <p:tag name="MIO_VERSION" val="10.09.2021 16:28:05"/>
  <p:tag name="MIO_DBID" val="0F45B44C-9BC7-4D85-81C4-7155EE70A7B9"/>
  <p:tag name="MIO_LASTDOWNLOADED" val="27.10.2022 17:01:27.858"/>
  <p:tag name="MIO_OBJECTNAME" val="Computer Google Shape;13388;p63"/>
  <p:tag name="MIO_LASTEDITORNAME" val="Sarah Blow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3a0732b-6fde-4a5f-8cda-e7f5150b47df"/>
  <p:tag name="MIO_GUID" val="5adabb73-4469-4dfe-956a-f1131f293402"/>
  <p:tag name="MIO_UPDATE" val="True"/>
  <p:tag name="MIO_VERSION" val="10.09.2021 16:30:21"/>
  <p:tag name="MIO_DBID" val="0F45B44C-9BC7-4D85-81C4-7155EE70A7B9"/>
  <p:tag name="MIO_LASTDOWNLOADED" val="27.10.2022 16:52:52.560"/>
  <p:tag name="MIO_OBJECTNAME" val="Chart Google Shape;13565;p63"/>
  <p:tag name="MIO_LASTEDITORNAME" val="Sarah Blow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35a7853-57df-46f0-abe5-ec8d8c106657"/>
  <p:tag name="MIO_GUID" val="da4d0bb7-66f5-4029-b8e4-dede5ff331b4"/>
  <p:tag name="MIO_UPDATE" val="True"/>
  <p:tag name="MIO_VERSION" val="10.09.2021 14:14:49"/>
  <p:tag name="MIO_DBID" val="0F45B44C-9BC7-4D85-81C4-7155EE70A7B9"/>
  <p:tag name="MIO_LASTDOWNLOADED" val="27.10.2022 17:00:54.080"/>
  <p:tag name="MIO_OBJECTNAME" val="Process Graphic 17 (3)"/>
  <p:tag name="MIO_LASTEDITORNAME" val="Sarah Blow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657dbb3-1840-4d7e-803d-ab58d7be3d28"/>
  <p:tag name="MIO_GUID" val="516cefd4-c123-4e6c-bef3-a574d4ff7185"/>
  <p:tag name="MIO_UPDATE" val="True"/>
  <p:tag name="MIO_VERSION" val="10.09.2021 14:23:35"/>
  <p:tag name="MIO_DBID" val="0F45B44C-9BC7-4D85-81C4-7155EE70A7B9"/>
  <p:tag name="MIO_LASTDOWNLOADED" val="27.10.2022 16:53:25.069"/>
  <p:tag name="MIO_OBJECTNAME" val="Handshake Graphic 17 (4)"/>
  <p:tag name="MIO_LASTEDITORNAME" val="Sarah Blow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32686a5-b76c-4f40-85fc-c92b28d39e47"/>
  <p:tag name="MIO_GUID" val="6cf5a507-3c17-4eb7-aa95-b3a2af569e13"/>
  <p:tag name="MIO_UPDATE" val="True"/>
  <p:tag name="MIO_VERSION" val="10.09.2021 14:24:31"/>
  <p:tag name="MIO_DBID" val="0F45B44C-9BC7-4D85-81C4-7155EE70A7B9"/>
  <p:tag name="MIO_LASTDOWNLOADED" val="27.10.2022 17:01:08.917"/>
  <p:tag name="MIO_OBJECTNAME" val="People Graphic 37 (4)"/>
  <p:tag name="MIO_LASTEDITORNAME" val="Sarah Blow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ee4000-7d13-480a-b446-ff757ba8f747"/>
  <p:tag name="MIO_EKGUID" val="28e163fb-902e-4968-803c-0c3722e649a2"/>
  <p:tag name="MIO_UPDATE" val="True"/>
  <p:tag name="MIO_VERSION" val="15.09.2021 06:22:32"/>
  <p:tag name="MIO_DBID" val="0F45B44C-9BC7-4D85-81C4-7155EE70A7B9"/>
  <p:tag name="MIO_LASTDOWNLOADED" val="19.01.2022 19:49:41.989"/>
  <p:tag name="MIO_OBJECTNAME" val="New Ideas one pagers"/>
  <p:tag name="MIO_LASTEDITORNAME" val="Kelly Rya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55b135-cc19-46a6-8614-d53fd1c6b6cf"/>
  <p:tag name="MIO_GUID" val="e82a40ac-e6ef-4a89-b73f-a95082a2c8d8"/>
  <p:tag name="MIO_UPDATE" val="True"/>
  <p:tag name="MIO_VERSION" val="10.09.2021 16:30:38"/>
  <p:tag name="MIO_DBID" val="0F45B44C-9BC7-4D85-81C4-7155EE70A7B9"/>
  <p:tag name="MIO_LASTDOWNLOADED" val="18.10.2022 09:57:38.217"/>
  <p:tag name="MIO_OBJECTNAME" val="Handshake Google Shape;13584;p63"/>
  <p:tag name="MIO_LASTEDITORNAME" val="Sarah Blow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0ed215-1363-48d2-a2b7-2c6cc8dfa9cd"/>
  <p:tag name="MIO_GUID" val="d822d372-0c8e-4d5b-9381-dc4259800dfa"/>
  <p:tag name="MIO_UPDATE" val="True"/>
  <p:tag name="MIO_VERSION" val="10.09.2021 14:24:53"/>
  <p:tag name="MIO_DBID" val="0F45B44C-9BC7-4D85-81C4-7155EE70A7B9"/>
  <p:tag name="MIO_LASTDOWNLOADED" val="26.10.2022 16:16:04.929"/>
  <p:tag name="MIO_OBJECTNAME" val="Target Graphic 45 (2)"/>
  <p:tag name="MIO_LASTEDITORNAME" val="Sarah Blow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ec64388-dd3e-4899-8d37-ca64e4279ca6"/>
  <p:tag name="MIO_GUID" val="46b1824e-5a0b-4a74-a747-e8c5ef89d553"/>
  <p:tag name="MIO_UPDATE" val="True"/>
  <p:tag name="MIO_VERSION" val="19.08.2021 14:03:06"/>
  <p:tag name="MIO_DBID" val="0F45B44C-9BC7-4D85-81C4-7155EE70A7B9"/>
  <p:tag name="MIO_LASTDOWNLOADED" val="18.10.2022 09:58:18.594"/>
  <p:tag name="MIO_OBJECTNAME" val="Idea Google Shape;10130;p57"/>
  <p:tag name="MIO_LASTEDITORNAME" val="Sarah Ly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ee4000-7d13-480a-b446-ff757ba8f747"/>
  <p:tag name="MIO_EKGUID" val="28e163fb-902e-4968-803c-0c3722e649a2"/>
  <p:tag name="MIO_UPDATE" val="True"/>
  <p:tag name="MIO_VERSION" val="15.09.2021 06:22:32"/>
  <p:tag name="MIO_DBID" val="0F45B44C-9BC7-4D85-81C4-7155EE70A7B9"/>
  <p:tag name="MIO_LASTDOWNLOADED" val="19.01.2022 19:49:41.989"/>
  <p:tag name="MIO_OBJECTNAME" val="New Ideas one pagers"/>
  <p:tag name="MIO_LASTEDITORNAME" val="Kelly Rya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0ed215-1363-48d2-a2b7-2c6cc8dfa9cd"/>
  <p:tag name="MIO_GUID" val="d822d372-0c8e-4d5b-9381-dc4259800dfa"/>
  <p:tag name="MIO_UPDATE" val="True"/>
  <p:tag name="MIO_VERSION" val="10.09.2021 14:24:53"/>
  <p:tag name="MIO_DBID" val="0F45B44C-9BC7-4D85-81C4-7155EE70A7B9"/>
  <p:tag name="MIO_LASTDOWNLOADED" val="26.10.2022 16:16:04.929"/>
  <p:tag name="MIO_OBJECTNAME" val="Target Graphic 45 (2)"/>
  <p:tag name="MIO_LASTEDITORNAME" val="Sarah Blow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ec64388-dd3e-4899-8d37-ca64e4279ca6"/>
  <p:tag name="MIO_GUID" val="46b1824e-5a0b-4a74-a747-e8c5ef89d553"/>
  <p:tag name="MIO_UPDATE" val="True"/>
  <p:tag name="MIO_VERSION" val="19.08.2021 14:03:06"/>
  <p:tag name="MIO_DBID" val="0F45B44C-9BC7-4D85-81C4-7155EE70A7B9"/>
  <p:tag name="MIO_LASTDOWNLOADED" val="18.10.2022 09:58:18.594"/>
  <p:tag name="MIO_OBJECTNAME" val="Idea Google Shape;10130;p57"/>
  <p:tag name="MIO_LASTEDITORNAME" val="Sarah Lyon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55b135-cc19-46a6-8614-d53fd1c6b6cf"/>
  <p:tag name="MIO_GUID" val="e82a40ac-e6ef-4a89-b73f-a95082a2c8d8"/>
  <p:tag name="MIO_UPDATE" val="True"/>
  <p:tag name="MIO_VERSION" val="10.09.2021 16:30:38"/>
  <p:tag name="MIO_DBID" val="0F45B44C-9BC7-4D85-81C4-7155EE70A7B9"/>
  <p:tag name="MIO_LASTDOWNLOADED" val="18.10.2022 09:57:38.217"/>
  <p:tag name="MIO_OBJECTNAME" val="Handshake Google Shape;13584;p63"/>
  <p:tag name="MIO_LASTEDITORNAME" val="Sarah Blow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ee4000-7d13-480a-b446-ff757ba8f747"/>
  <p:tag name="MIO_EKGUID" val="28e163fb-902e-4968-803c-0c3722e649a2"/>
  <p:tag name="MIO_UPDATE" val="True"/>
  <p:tag name="MIO_VERSION" val="15.09.2021 06:22:32"/>
  <p:tag name="MIO_DBID" val="0F45B44C-9BC7-4D85-81C4-7155EE70A7B9"/>
  <p:tag name="MIO_LASTDOWNLOADED" val="19.01.2022 19:49:41.989"/>
  <p:tag name="MIO_OBJECTNAME" val="New Ideas one pagers"/>
  <p:tag name="MIO_LASTEDITORNAME" val="Kelly Rya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0ed215-1363-48d2-a2b7-2c6cc8dfa9cd"/>
  <p:tag name="MIO_GUID" val="d822d372-0c8e-4d5b-9381-dc4259800dfa"/>
  <p:tag name="MIO_UPDATE" val="True"/>
  <p:tag name="MIO_VERSION" val="10.09.2021 14:24:53"/>
  <p:tag name="MIO_DBID" val="0F45B44C-9BC7-4D85-81C4-7155EE70A7B9"/>
  <p:tag name="MIO_LASTDOWNLOADED" val="26.10.2022 16:16:04.929"/>
  <p:tag name="MIO_OBJECTNAME" val="Target Graphic 45 (2)"/>
  <p:tag name="MIO_LASTEDITORNAME" val="Sarah Blow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ec64388-dd3e-4899-8d37-ca64e4279ca6"/>
  <p:tag name="MIO_GUID" val="46b1824e-5a0b-4a74-a747-e8c5ef89d553"/>
  <p:tag name="MIO_UPDATE" val="True"/>
  <p:tag name="MIO_VERSION" val="19.08.2021 14:03:06"/>
  <p:tag name="MIO_DBID" val="0F45B44C-9BC7-4D85-81C4-7155EE70A7B9"/>
  <p:tag name="MIO_LASTDOWNLOADED" val="18.10.2022 09:58:18.594"/>
  <p:tag name="MIO_OBJECTNAME" val="Idea Google Shape;10130;p57"/>
  <p:tag name="MIO_LASTEDITORNAME" val="Sarah Lyon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55b135-cc19-46a6-8614-d53fd1c6b6cf"/>
  <p:tag name="MIO_GUID" val="e82a40ac-e6ef-4a89-b73f-a95082a2c8d8"/>
  <p:tag name="MIO_UPDATE" val="True"/>
  <p:tag name="MIO_VERSION" val="10.09.2021 16:30:38"/>
  <p:tag name="MIO_DBID" val="0F45B44C-9BC7-4D85-81C4-7155EE70A7B9"/>
  <p:tag name="MIO_LASTDOWNLOADED" val="18.10.2022 09:57:38.217"/>
  <p:tag name="MIO_OBJECTNAME" val="Handshake Google Shape;13584;p63"/>
  <p:tag name="MIO_LASTEDITORNAME" val="Sarah Blow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ee4000-7d13-480a-b446-ff757ba8f747"/>
  <p:tag name="MIO_EKGUID" val="28e163fb-902e-4968-803c-0c3722e649a2"/>
  <p:tag name="MIO_UPDATE" val="True"/>
  <p:tag name="MIO_VERSION" val="15.09.2021 06:22:32"/>
  <p:tag name="MIO_DBID" val="0F45B44C-9BC7-4D85-81C4-7155EE70A7B9"/>
  <p:tag name="MIO_LASTDOWNLOADED" val="19.01.2022 19:49:41.989"/>
  <p:tag name="MIO_OBJECTNAME" val="New Ideas one pagers"/>
  <p:tag name="MIO_LASTEDITORNAME" val="Kelly Rya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0ed215-1363-48d2-a2b7-2c6cc8dfa9cd"/>
  <p:tag name="MIO_GUID" val="d822d372-0c8e-4d5b-9381-dc4259800dfa"/>
  <p:tag name="MIO_UPDATE" val="True"/>
  <p:tag name="MIO_VERSION" val="10.09.2021 14:24:53"/>
  <p:tag name="MIO_DBID" val="0F45B44C-9BC7-4D85-81C4-7155EE70A7B9"/>
  <p:tag name="MIO_LASTDOWNLOADED" val="26.10.2022 16:16:04.929"/>
  <p:tag name="MIO_OBJECTNAME" val="Target Graphic 45 (2)"/>
  <p:tag name="MIO_LASTEDITORNAME" val="Sarah Blow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ec64388-dd3e-4899-8d37-ca64e4279ca6"/>
  <p:tag name="MIO_GUID" val="46b1824e-5a0b-4a74-a747-e8c5ef89d553"/>
  <p:tag name="MIO_UPDATE" val="True"/>
  <p:tag name="MIO_VERSION" val="19.08.2021 14:03:06"/>
  <p:tag name="MIO_DBID" val="0F45B44C-9BC7-4D85-81C4-7155EE70A7B9"/>
  <p:tag name="MIO_LASTDOWNLOADED" val="18.10.2022 09:58:18.594"/>
  <p:tag name="MIO_OBJECTNAME" val="Idea Google Shape;10130;p57"/>
  <p:tag name="MIO_LASTEDITORNAME" val="Sarah Lyon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55b135-cc19-46a6-8614-d53fd1c6b6cf"/>
  <p:tag name="MIO_GUID" val="e82a40ac-e6ef-4a89-b73f-a95082a2c8d8"/>
  <p:tag name="MIO_UPDATE" val="True"/>
  <p:tag name="MIO_VERSION" val="10.09.2021 16:30:38"/>
  <p:tag name="MIO_DBID" val="0F45B44C-9BC7-4D85-81C4-7155EE70A7B9"/>
  <p:tag name="MIO_LASTDOWNLOADED" val="18.10.2022 09:57:38.217"/>
  <p:tag name="MIO_OBJECTNAME" val="Handshake Google Shape;13584;p63"/>
  <p:tag name="MIO_LASTEDITORNAME" val="Sarah Blow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ee4000-7d13-480a-b446-ff757ba8f747"/>
  <p:tag name="MIO_EKGUID" val="28e163fb-902e-4968-803c-0c3722e649a2"/>
  <p:tag name="MIO_UPDATE" val="True"/>
  <p:tag name="MIO_VERSION" val="15.09.2021 06:22:32"/>
  <p:tag name="MIO_DBID" val="0F45B44C-9BC7-4D85-81C4-7155EE70A7B9"/>
  <p:tag name="MIO_LASTDOWNLOADED" val="19.01.2022 19:49:41.989"/>
  <p:tag name="MIO_OBJECTNAME" val="New Ideas one pagers"/>
  <p:tag name="MIO_LASTEDITORNAME" val="Kelly Rya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0ed215-1363-48d2-a2b7-2c6cc8dfa9cd"/>
  <p:tag name="MIO_GUID" val="d822d372-0c8e-4d5b-9381-dc4259800dfa"/>
  <p:tag name="MIO_UPDATE" val="True"/>
  <p:tag name="MIO_VERSION" val="10.09.2021 14:24:53"/>
  <p:tag name="MIO_DBID" val="0F45B44C-9BC7-4D85-81C4-7155EE70A7B9"/>
  <p:tag name="MIO_LASTDOWNLOADED" val="26.10.2022 16:16:04.929"/>
  <p:tag name="MIO_OBJECTNAME" val="Target Graphic 45 (2)"/>
  <p:tag name="MIO_LASTEDITORNAME" val="Sarah Blow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ec64388-dd3e-4899-8d37-ca64e4279ca6"/>
  <p:tag name="MIO_GUID" val="46b1824e-5a0b-4a74-a747-e8c5ef89d553"/>
  <p:tag name="MIO_UPDATE" val="True"/>
  <p:tag name="MIO_VERSION" val="19.08.2021 14:03:06"/>
  <p:tag name="MIO_DBID" val="0F45B44C-9BC7-4D85-81C4-7155EE70A7B9"/>
  <p:tag name="MIO_LASTDOWNLOADED" val="18.10.2022 09:58:18.594"/>
  <p:tag name="MIO_OBJECTNAME" val="Idea Google Shape;10130;p57"/>
  <p:tag name="MIO_LASTEDITORNAME" val="Sarah Lyon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55b135-cc19-46a6-8614-d53fd1c6b6cf"/>
  <p:tag name="MIO_GUID" val="e82a40ac-e6ef-4a89-b73f-a95082a2c8d8"/>
  <p:tag name="MIO_UPDATE" val="True"/>
  <p:tag name="MIO_VERSION" val="10.09.2021 16:30:38"/>
  <p:tag name="MIO_DBID" val="0F45B44C-9BC7-4D85-81C4-7155EE70A7B9"/>
  <p:tag name="MIO_LASTDOWNLOADED" val="18.10.2022 09:57:38.217"/>
  <p:tag name="MIO_OBJECTNAME" val="Handshake Google Shape;13584;p63"/>
  <p:tag name="MIO_LASTEDITORNAME" val="Sarah Blow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aee4000-7d13-480a-b446-ff757ba8f747"/>
  <p:tag name="MIO_EKGUID" val="28e163fb-902e-4968-803c-0c3722e649a2"/>
  <p:tag name="MIO_UPDATE" val="True"/>
  <p:tag name="MIO_VERSION" val="15.09.2021 06:22:32"/>
  <p:tag name="MIO_DBID" val="0F45B44C-9BC7-4D85-81C4-7155EE70A7B9"/>
  <p:tag name="MIO_LASTDOWNLOADED" val="19.01.2022 19:49:41.989"/>
  <p:tag name="MIO_OBJECTNAME" val="New Ideas one pagers"/>
  <p:tag name="MIO_LASTEDITORNAME" val="Kelly Rya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690ed215-1363-48d2-a2b7-2c6cc8dfa9cd"/>
  <p:tag name="MIO_GUID" val="d822d372-0c8e-4d5b-9381-dc4259800dfa"/>
  <p:tag name="MIO_UPDATE" val="True"/>
  <p:tag name="MIO_VERSION" val="10.09.2021 14:24:53"/>
  <p:tag name="MIO_DBID" val="0F45B44C-9BC7-4D85-81C4-7155EE70A7B9"/>
  <p:tag name="MIO_LASTDOWNLOADED" val="26.10.2022 16:16:04.929"/>
  <p:tag name="MIO_OBJECTNAME" val="Target Graphic 45 (2)"/>
  <p:tag name="MIO_LASTEDITORNAME" val="Sarah Blow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1ec64388-dd3e-4899-8d37-ca64e4279ca6"/>
  <p:tag name="MIO_GUID" val="46b1824e-5a0b-4a74-a747-e8c5ef89d553"/>
  <p:tag name="MIO_UPDATE" val="True"/>
  <p:tag name="MIO_VERSION" val="19.08.2021 14:03:06"/>
  <p:tag name="MIO_DBID" val="0F45B44C-9BC7-4D85-81C4-7155EE70A7B9"/>
  <p:tag name="MIO_LASTDOWNLOADED" val="18.10.2022 09:58:18.594"/>
  <p:tag name="MIO_OBJECTNAME" val="Idea Google Shape;10130;p57"/>
  <p:tag name="MIO_LASTEDITORNAME" val="Sarah Lyon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3955b135-cc19-46a6-8614-d53fd1c6b6cf"/>
  <p:tag name="MIO_GUID" val="e82a40ac-e6ef-4a89-b73f-a95082a2c8d8"/>
  <p:tag name="MIO_UPDATE" val="True"/>
  <p:tag name="MIO_VERSION" val="10.09.2021 16:30:38"/>
  <p:tag name="MIO_DBID" val="0F45B44C-9BC7-4D85-81C4-7155EE70A7B9"/>
  <p:tag name="MIO_LASTDOWNLOADED" val="18.10.2022 09:57:38.217"/>
  <p:tag name="MIO_OBJECTNAME" val="Handshake Google Shape;13584;p63"/>
  <p:tag name="MIO_LASTEDITORNAME" val="Sarah Blow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Office Theme">
  <a:themeElements>
    <a:clrScheme name="NDIS QaSC">
      <a:dk1>
        <a:sysClr val="windowText" lastClr="000000"/>
      </a:dk1>
      <a:lt1>
        <a:sysClr val="window" lastClr="FFFFFF"/>
      </a:lt1>
      <a:dk2>
        <a:srgbClr val="5F2E74"/>
      </a:dk2>
      <a:lt2>
        <a:srgbClr val="DDDDDD"/>
      </a:lt2>
      <a:accent1>
        <a:srgbClr val="5F2E74"/>
      </a:accent1>
      <a:accent2>
        <a:srgbClr val="962C8B"/>
      </a:accent2>
      <a:accent3>
        <a:srgbClr val="BA2E96"/>
      </a:accent3>
      <a:accent4>
        <a:srgbClr val="539250"/>
      </a:accent4>
      <a:accent5>
        <a:srgbClr val="83B14C"/>
      </a:accent5>
      <a:accent6>
        <a:srgbClr val="9DC44D"/>
      </a:accent6>
      <a:hlink>
        <a:srgbClr val="0000FF"/>
      </a:hlink>
      <a:folHlink>
        <a:srgbClr val="BA2E9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-powerpoint" id="{32FBEAA7-AE92-4189-9C6B-B658864D4506}" vid="{10026061-BD31-4428-B4E0-139B4AF98BC5}"/>
    </a:ext>
  </a:extLst>
</a:theme>
</file>

<file path=ppt/theme/theme2.xml><?xml version="1.0" encoding="utf-8"?>
<a:theme xmlns:a="http://schemas.openxmlformats.org/drawingml/2006/main" name="1_Office Theme">
  <a:themeElements>
    <a:clrScheme name="NDIS QaSC">
      <a:dk1>
        <a:sysClr val="windowText" lastClr="000000"/>
      </a:dk1>
      <a:lt1>
        <a:sysClr val="window" lastClr="FFFFFF"/>
      </a:lt1>
      <a:dk2>
        <a:srgbClr val="5F2E74"/>
      </a:dk2>
      <a:lt2>
        <a:srgbClr val="DDDDDD"/>
      </a:lt2>
      <a:accent1>
        <a:srgbClr val="5F2E74"/>
      </a:accent1>
      <a:accent2>
        <a:srgbClr val="962C8B"/>
      </a:accent2>
      <a:accent3>
        <a:srgbClr val="BA2E96"/>
      </a:accent3>
      <a:accent4>
        <a:srgbClr val="539250"/>
      </a:accent4>
      <a:accent5>
        <a:srgbClr val="83B14C"/>
      </a:accent5>
      <a:accent6>
        <a:srgbClr val="9DC44D"/>
      </a:accent6>
      <a:hlink>
        <a:srgbClr val="0000FF"/>
      </a:hlink>
      <a:folHlink>
        <a:srgbClr val="BA2E9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-powerpoint" id="{32FBEAA7-AE92-4189-9C6B-B658864D4506}" vid="{10026061-BD31-4428-B4E0-139B4AF98BC5}"/>
    </a:ext>
  </a:extLst>
</a:theme>
</file>

<file path=ppt/theme/theme3.xml><?xml version="1.0" encoding="utf-8"?>
<a:theme xmlns:a="http://schemas.openxmlformats.org/drawingml/2006/main" name="3_Office Theme">
  <a:themeElements>
    <a:clrScheme name="NDIS QaSC">
      <a:dk1>
        <a:sysClr val="windowText" lastClr="000000"/>
      </a:dk1>
      <a:lt1>
        <a:sysClr val="window" lastClr="FFFFFF"/>
      </a:lt1>
      <a:dk2>
        <a:srgbClr val="5F2E74"/>
      </a:dk2>
      <a:lt2>
        <a:srgbClr val="DDDDDD"/>
      </a:lt2>
      <a:accent1>
        <a:srgbClr val="5F2E74"/>
      </a:accent1>
      <a:accent2>
        <a:srgbClr val="962C8B"/>
      </a:accent2>
      <a:accent3>
        <a:srgbClr val="BA2E96"/>
      </a:accent3>
      <a:accent4>
        <a:srgbClr val="539250"/>
      </a:accent4>
      <a:accent5>
        <a:srgbClr val="83B14C"/>
      </a:accent5>
      <a:accent6>
        <a:srgbClr val="9DC44D"/>
      </a:accent6>
      <a:hlink>
        <a:srgbClr val="0000FF"/>
      </a:hlink>
      <a:folHlink>
        <a:srgbClr val="BA2E9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-powerpoint" id="{32FBEAA7-AE92-4189-9C6B-B658864D4506}" vid="{10026061-BD31-4428-B4E0-139B4AF98BC5}"/>
    </a:ext>
  </a:extLst>
</a:theme>
</file>

<file path=ppt/theme/theme4.xml><?xml version="1.0" encoding="utf-8"?>
<a:theme xmlns:a="http://schemas.openxmlformats.org/drawingml/2006/main" name="4_Office Theme">
  <a:themeElements>
    <a:clrScheme name="NDIS QaSC">
      <a:dk1>
        <a:sysClr val="windowText" lastClr="000000"/>
      </a:dk1>
      <a:lt1>
        <a:sysClr val="window" lastClr="FFFFFF"/>
      </a:lt1>
      <a:dk2>
        <a:srgbClr val="5F2E74"/>
      </a:dk2>
      <a:lt2>
        <a:srgbClr val="DDDDDD"/>
      </a:lt2>
      <a:accent1>
        <a:srgbClr val="5F2E74"/>
      </a:accent1>
      <a:accent2>
        <a:srgbClr val="962C8B"/>
      </a:accent2>
      <a:accent3>
        <a:srgbClr val="BA2E96"/>
      </a:accent3>
      <a:accent4>
        <a:srgbClr val="539250"/>
      </a:accent4>
      <a:accent5>
        <a:srgbClr val="83B14C"/>
      </a:accent5>
      <a:accent6>
        <a:srgbClr val="9DC44D"/>
      </a:accent6>
      <a:hlink>
        <a:srgbClr val="0000FF"/>
      </a:hlink>
      <a:folHlink>
        <a:srgbClr val="BA2E9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-powerpoint" id="{32FBEAA7-AE92-4189-9C6B-B658864D4506}" vid="{10026061-BD31-4428-B4E0-139B4AF98BC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8bdb7ec-7532-46a6-a423-28bffe9da9a9" xsi:nil="true"/>
    <lcf76f155ced4ddcb4097134ff3c332f xmlns="89b150f3-8cb0-4c81-8212-064b07dfcfef">
      <Terms xmlns="http://schemas.microsoft.com/office/infopath/2007/PartnerControls"/>
    </lcf76f155ced4ddcb4097134ff3c332f>
    <SharedWithUsers xmlns="18bdb7ec-7532-46a6-a423-28bffe9da9a9">
      <UserInfo>
        <DisplayName>Rochelle Boland</DisplayName>
        <AccountId>1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2C553500B9204BAA73926F3033EBEC" ma:contentTypeVersion="13" ma:contentTypeDescription="Create a new document." ma:contentTypeScope="" ma:versionID="5bb62a227d627001388840788f00f97a">
  <xsd:schema xmlns:xsd="http://www.w3.org/2001/XMLSchema" xmlns:xs="http://www.w3.org/2001/XMLSchema" xmlns:p="http://schemas.microsoft.com/office/2006/metadata/properties" xmlns:ns2="89b150f3-8cb0-4c81-8212-064b07dfcfef" xmlns:ns3="18bdb7ec-7532-46a6-a423-28bffe9da9a9" targetNamespace="http://schemas.microsoft.com/office/2006/metadata/properties" ma:root="true" ma:fieldsID="a16a6dad6ccecbe8376a1a303c6357e9" ns2:_="" ns3:_="">
    <xsd:import namespace="89b150f3-8cb0-4c81-8212-064b07dfcfef"/>
    <xsd:import namespace="18bdb7ec-7532-46a6-a423-28bffe9da9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b150f3-8cb0-4c81-8212-064b07dfcf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2ac94f80-1e3b-4c62-aaee-b315c6eefc3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bdb7ec-7532-46a6-a423-28bffe9da9a9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556d379-c64a-4f5c-8333-471092ef2837}" ma:internalName="TaxCatchAll" ma:showField="CatchAllData" ma:web="18bdb7ec-7532-46a6-a423-28bffe9da9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0086989-94CE-4152-9F4A-491F938ECA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5006D1-D01B-4755-9EED-29E43DC99587}">
  <ds:schemaRefs>
    <ds:schemaRef ds:uri="http://schemas.microsoft.com/office/2006/metadata/properties"/>
    <ds:schemaRef ds:uri="89b150f3-8cb0-4c81-8212-064b07dfcfe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18bdb7ec-7532-46a6-a423-28bffe9da9a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830EEE2-45EA-4222-9635-0F1BE437D868}">
  <ds:schemaRefs>
    <ds:schemaRef ds:uri="18bdb7ec-7532-46a6-a423-28bffe9da9a9"/>
    <ds:schemaRef ds:uri="89b150f3-8cb0-4c81-8212-064b07dfcf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78</TotalTime>
  <Words>3314</Words>
  <Application>Microsoft Office PowerPoint</Application>
  <PresentationFormat>Widescreen</PresentationFormat>
  <Paragraphs>560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Helvetica Neue</vt:lpstr>
      <vt:lpstr>Office Theme</vt:lpstr>
      <vt:lpstr>1_Office Theme</vt:lpstr>
      <vt:lpstr>3_Office Theme</vt:lpstr>
      <vt:lpstr>4_Office Theme</vt:lpstr>
      <vt:lpstr>think-cell Slide</vt:lpstr>
      <vt:lpstr>Data and Digital Roadmap</vt:lpstr>
      <vt:lpstr>Background to the project</vt:lpstr>
      <vt:lpstr>The Data and Digital Roadmap is a key enabler for the Commission to realise its vision and purpose</vt:lpstr>
      <vt:lpstr>Data and digital approaches will influence the impact the Commission has on the rights of participants, quality of providers and the market</vt:lpstr>
      <vt:lpstr>The Data and Digital Roadmap is designed to enable the Commission's vision</vt:lpstr>
      <vt:lpstr>The risk of not transforming data and digital across the Commission is significant</vt:lpstr>
      <vt:lpstr>The pillars are the core of the Data and Digital Roadmap</vt:lpstr>
      <vt:lpstr>The Commission faces significant gaps in its current data and digital capability </vt:lpstr>
      <vt:lpstr>Improving data and digital capability improves the experience for all stakeholders</vt:lpstr>
      <vt:lpstr>The pillars are implemented with specific changes to the Commission’s data and digital capability</vt:lpstr>
      <vt:lpstr>The pillars are implemented with specific changes to data and digital capability</vt:lpstr>
      <vt:lpstr>The architecture and competencies are the enablers upon which the pillars are built</vt:lpstr>
      <vt:lpstr>The system architecture is a key enabler of the data and digital outcomes</vt:lpstr>
      <vt:lpstr>Data and digital competencies are required to ensure the benefits of the technology are maximised</vt:lpstr>
      <vt:lpstr>The Data and Digital Roadmap will deliver significant improvements across six primary areas</vt:lpstr>
      <vt:lpstr>1. Modernise core systems</vt:lpstr>
      <vt:lpstr>2. Data and intelligence</vt:lpstr>
      <vt:lpstr>3. External interfaces</vt:lpstr>
      <vt:lpstr>4. Accessibility</vt:lpstr>
      <vt:lpstr>5. Optimised processes</vt:lpstr>
      <vt:lpstr>6. IT operating mode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ly Ryan</dc:creator>
  <cp:keywords>[SEC=OFFICIAL]</cp:keywords>
  <cp:lastModifiedBy>MARTIN, Jessica</cp:lastModifiedBy>
  <cp:revision>45</cp:revision>
  <dcterms:created xsi:type="dcterms:W3CDTF">2022-04-07T05:51:55Z</dcterms:created>
  <dcterms:modified xsi:type="dcterms:W3CDTF">2023-02-09T22:47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2C553500B9204BAA73926F3033EBEC</vt:lpwstr>
  </property>
  <property fmtid="{D5CDD505-2E9C-101B-9397-08002B2CF9AE}" pid="3" name="MediaServiceImageTags">
    <vt:lpwstr/>
  </property>
  <property fmtid="{D5CDD505-2E9C-101B-9397-08002B2CF9AE}" pid="4" name="PM_ProtectiveMarkingImage_Header">
    <vt:lpwstr>C:\Program Files (x86)\Common Files\janusNET Shared\janusSEAL\Images\DocumentSlashBlue.png</vt:lpwstr>
  </property>
  <property fmtid="{D5CDD505-2E9C-101B-9397-08002B2CF9AE}" pid="5" name="PM_Caveats_Count">
    <vt:lpwstr>0</vt:lpwstr>
  </property>
  <property fmtid="{D5CDD505-2E9C-101B-9397-08002B2CF9AE}" pid="6" name="PM_DisplayValueSecClassificationWithQualifier">
    <vt:lpwstr>OFFICIAL</vt:lpwstr>
  </property>
  <property fmtid="{D5CDD505-2E9C-101B-9397-08002B2CF9AE}" pid="7" name="PM_Qualifier">
    <vt:lpwstr/>
  </property>
  <property fmtid="{D5CDD505-2E9C-101B-9397-08002B2CF9AE}" pid="8" name="PM_SecurityClassification">
    <vt:lpwstr>OFFICIAL</vt:lpwstr>
  </property>
  <property fmtid="{D5CDD505-2E9C-101B-9397-08002B2CF9AE}" pid="9" name="PM_InsertionValue">
    <vt:lpwstr>OFFICIAL</vt:lpwstr>
  </property>
  <property fmtid="{D5CDD505-2E9C-101B-9397-08002B2CF9AE}" pid="10" name="PM_Originating_FileId">
    <vt:lpwstr>F135D9327EEE4DD8AE667BA9A5FC7ACA</vt:lpwstr>
  </property>
  <property fmtid="{D5CDD505-2E9C-101B-9397-08002B2CF9AE}" pid="11" name="PM_ProtectiveMarkingValue_Footer">
    <vt:lpwstr>OFFICIAL</vt:lpwstr>
  </property>
  <property fmtid="{D5CDD505-2E9C-101B-9397-08002B2CF9AE}" pid="12" name="PM_Originator_Hash_SHA1">
    <vt:lpwstr>38F9BF24E34B9020E28CEEAE4D48B506C0CA5314</vt:lpwstr>
  </property>
  <property fmtid="{D5CDD505-2E9C-101B-9397-08002B2CF9AE}" pid="13" name="PM_OriginationTimeStamp">
    <vt:lpwstr>2023-02-09T22:46:46Z</vt:lpwstr>
  </property>
  <property fmtid="{D5CDD505-2E9C-101B-9397-08002B2CF9AE}" pid="14" name="PM_ProtectiveMarkingValue_Header">
    <vt:lpwstr>OFFICIAL</vt:lpwstr>
  </property>
  <property fmtid="{D5CDD505-2E9C-101B-9397-08002B2CF9AE}" pid="15" name="PM_ProtectiveMarkingImage_Footer">
    <vt:lpwstr>C:\Program Files (x86)\Common Files\janusNET Shared\janusSEAL\Images\DocumentSlashBlue.png</vt:lpwstr>
  </property>
  <property fmtid="{D5CDD505-2E9C-101B-9397-08002B2CF9AE}" pid="16" name="PM_Namespace">
    <vt:lpwstr>gov.au</vt:lpwstr>
  </property>
  <property fmtid="{D5CDD505-2E9C-101B-9397-08002B2CF9AE}" pid="17" name="PM_Version">
    <vt:lpwstr>2018.4</vt:lpwstr>
  </property>
  <property fmtid="{D5CDD505-2E9C-101B-9397-08002B2CF9AE}" pid="18" name="PM_Note">
    <vt:lpwstr/>
  </property>
  <property fmtid="{D5CDD505-2E9C-101B-9397-08002B2CF9AE}" pid="19" name="PM_Markers">
    <vt:lpwstr/>
  </property>
  <property fmtid="{D5CDD505-2E9C-101B-9397-08002B2CF9AE}" pid="20" name="PM_Display">
    <vt:lpwstr>OFFICIAL</vt:lpwstr>
  </property>
  <property fmtid="{D5CDD505-2E9C-101B-9397-08002B2CF9AE}" pid="21" name="PM_Hash_Version">
    <vt:lpwstr>2018.0</vt:lpwstr>
  </property>
  <property fmtid="{D5CDD505-2E9C-101B-9397-08002B2CF9AE}" pid="22" name="PM_Hash_Salt_Prev">
    <vt:lpwstr>8CB9248A716D938576F8A2F30C921AD2</vt:lpwstr>
  </property>
  <property fmtid="{D5CDD505-2E9C-101B-9397-08002B2CF9AE}" pid="23" name="PM_Hash_Salt">
    <vt:lpwstr>B9163F7FEB8C848219B770F081485450</vt:lpwstr>
  </property>
  <property fmtid="{D5CDD505-2E9C-101B-9397-08002B2CF9AE}" pid="24" name="PM_Hash_SHA1">
    <vt:lpwstr>8AF91ED248A7B4AD82C72EFE00EE75206A286D99</vt:lpwstr>
  </property>
  <property fmtid="{D5CDD505-2E9C-101B-9397-08002B2CF9AE}" pid="25" name="PM_OriginatorUserAccountName_SHA256">
    <vt:lpwstr>3DA78915B1F95C35574819ADC34E0E42975CBC4ACA644FA473261B0E401EB5BC</vt:lpwstr>
  </property>
  <property fmtid="{D5CDD505-2E9C-101B-9397-08002B2CF9AE}" pid="26" name="PM_OriginatorDomainName_SHA256">
    <vt:lpwstr>CE53151D70EF3143B9B6CA1DC053F41E858E2C804CF2EE5AE813E5CCE407743B</vt:lpwstr>
  </property>
  <property fmtid="{D5CDD505-2E9C-101B-9397-08002B2CF9AE}" pid="27" name="PM_PrintOutPlacement_PPT">
    <vt:lpwstr/>
  </property>
  <property fmtid="{D5CDD505-2E9C-101B-9397-08002B2CF9AE}" pid="28" name="PM_SecurityClassification_Prev">
    <vt:lpwstr>OFFICIAL</vt:lpwstr>
  </property>
  <property fmtid="{D5CDD505-2E9C-101B-9397-08002B2CF9AE}" pid="29" name="PM_Qualifier_Prev">
    <vt:lpwstr/>
  </property>
</Properties>
</file>